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52"/>
  </p:notesMasterIdLst>
  <p:sldIdLst>
    <p:sldId id="256" r:id="rId5"/>
    <p:sldId id="286" r:id="rId6"/>
    <p:sldId id="289" r:id="rId7"/>
    <p:sldId id="287" r:id="rId8"/>
    <p:sldId id="274" r:id="rId9"/>
    <p:sldId id="450" r:id="rId10"/>
    <p:sldId id="451" r:id="rId11"/>
    <p:sldId id="452" r:id="rId12"/>
    <p:sldId id="486" r:id="rId13"/>
    <p:sldId id="487" r:id="rId14"/>
    <p:sldId id="488" r:id="rId15"/>
    <p:sldId id="489" r:id="rId16"/>
    <p:sldId id="490" r:id="rId17"/>
    <p:sldId id="453" r:id="rId18"/>
    <p:sldId id="421" r:id="rId19"/>
    <p:sldId id="454" r:id="rId20"/>
    <p:sldId id="484" r:id="rId21"/>
    <p:sldId id="485" r:id="rId22"/>
    <p:sldId id="455" r:id="rId23"/>
    <p:sldId id="491" r:id="rId24"/>
    <p:sldId id="497" r:id="rId25"/>
    <p:sldId id="463" r:id="rId26"/>
    <p:sldId id="479" r:id="rId27"/>
    <p:sldId id="478" r:id="rId28"/>
    <p:sldId id="465" r:id="rId29"/>
    <p:sldId id="466" r:id="rId30"/>
    <p:sldId id="467" r:id="rId31"/>
    <p:sldId id="475" r:id="rId32"/>
    <p:sldId id="476" r:id="rId33"/>
    <p:sldId id="480" r:id="rId34"/>
    <p:sldId id="481" r:id="rId35"/>
    <p:sldId id="468" r:id="rId36"/>
    <p:sldId id="469" r:id="rId37"/>
    <p:sldId id="470" r:id="rId38"/>
    <p:sldId id="471" r:id="rId39"/>
    <p:sldId id="472" r:id="rId40"/>
    <p:sldId id="473" r:id="rId41"/>
    <p:sldId id="474" r:id="rId42"/>
    <p:sldId id="492" r:id="rId43"/>
    <p:sldId id="456" r:id="rId44"/>
    <p:sldId id="461" r:id="rId45"/>
    <p:sldId id="458" r:id="rId46"/>
    <p:sldId id="459" r:id="rId47"/>
    <p:sldId id="460" r:id="rId48"/>
    <p:sldId id="483" r:id="rId49"/>
    <p:sldId id="498" r:id="rId50"/>
    <p:sldId id="457" r:id="rId51"/>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Sessions" id="{A4CA5440-4614-4F22-BA68-77BB4C6739D5}">
          <p14:sldIdLst/>
        </p14:section>
        <p14:section name="Power Summit Slides" id="{C5AFE659-7835-41C3-B1AB-F7CE31DA9D18}">
          <p14:sldIdLst>
            <p14:sldId id="256"/>
            <p14:sldId id="286"/>
            <p14:sldId id="289"/>
            <p14:sldId id="287"/>
            <p14:sldId id="274"/>
          </p14:sldIdLst>
        </p14:section>
        <p14:section name="Integration tools" id="{FD7E3062-1ACF-4579-9B04-86817123ADEE}">
          <p14:sldIdLst>
            <p14:sldId id="450"/>
            <p14:sldId id="451"/>
            <p14:sldId id="452"/>
            <p14:sldId id="486"/>
            <p14:sldId id="487"/>
            <p14:sldId id="488"/>
            <p14:sldId id="489"/>
            <p14:sldId id="490"/>
            <p14:sldId id="453"/>
            <p14:sldId id="421"/>
            <p14:sldId id="454"/>
            <p14:sldId id="484"/>
            <p14:sldId id="485"/>
            <p14:sldId id="455"/>
            <p14:sldId id="491"/>
            <p14:sldId id="497"/>
          </p14:sldIdLst>
        </p14:section>
        <p14:section name="Integration patterns" id="{773D9DB4-8AAE-4093-B86F-1ED4F0C17E1C}">
          <p14:sldIdLst>
            <p14:sldId id="463"/>
            <p14:sldId id="479"/>
            <p14:sldId id="478"/>
            <p14:sldId id="465"/>
            <p14:sldId id="466"/>
            <p14:sldId id="467"/>
            <p14:sldId id="475"/>
            <p14:sldId id="476"/>
            <p14:sldId id="480"/>
            <p14:sldId id="481"/>
          </p14:sldIdLst>
        </p14:section>
        <p14:section name="Cost savings hacks" id="{3235EAB5-7ABF-4556-8C02-9A3B7D732764}">
          <p14:sldIdLst>
            <p14:sldId id="468"/>
            <p14:sldId id="469"/>
            <p14:sldId id="470"/>
            <p14:sldId id="471"/>
            <p14:sldId id="472"/>
            <p14:sldId id="473"/>
            <p14:sldId id="474"/>
            <p14:sldId id="492"/>
          </p14:sldIdLst>
        </p14:section>
        <p14:section name="Fail-proofing" id="{9AA69CC9-0080-4D90-95D7-38B89D00B289}">
          <p14:sldIdLst>
            <p14:sldId id="456"/>
            <p14:sldId id="461"/>
            <p14:sldId id="458"/>
            <p14:sldId id="459"/>
            <p14:sldId id="460"/>
            <p14:sldId id="483"/>
            <p14:sldId id="498"/>
            <p14:sldId id="457"/>
          </p14:sldIdLst>
        </p14:section>
        <p14:section name="Templates" id="{7A46FA16-37E2-41B5-8FC3-7F86F14B514A}">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E467"/>
    <a:srgbClr val="980C0C"/>
    <a:srgbClr val="E41212"/>
    <a:srgbClr val="2089D0"/>
    <a:srgbClr val="2C7CC4"/>
    <a:srgbClr val="B08E00"/>
    <a:srgbClr val="D01012"/>
    <a:srgbClr val="FFD100"/>
    <a:srgbClr val="00FE73"/>
    <a:srgbClr val="007CA8"/>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8C0789-4637-44E2-8C44-B224BD8E46EB}" v="2485" dt="2025-03-07T00:37:58.7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7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90D770-57B5-41AE-94A5-8172B3072938}" type="datetimeFigureOut">
              <a:rPr lang="en-US" smtClean="0"/>
              <a:t>3/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221A22-6757-4DFC-AC52-B0B349051EA1}" type="slidenum">
              <a:rPr lang="en-US" smtClean="0"/>
              <a:t>‹#›</a:t>
            </a:fld>
            <a:endParaRPr lang="en-US"/>
          </a:p>
        </p:txBody>
      </p:sp>
    </p:spTree>
    <p:extLst>
      <p:ext uri="{BB962C8B-B14F-4D97-AF65-F5344CB8AC3E}">
        <p14:creationId xmlns:p14="http://schemas.microsoft.com/office/powerpoint/2010/main" val="1852114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1</a:t>
            </a:fld>
            <a:endParaRPr lang="en-US"/>
          </a:p>
        </p:txBody>
      </p:sp>
    </p:spTree>
    <p:extLst>
      <p:ext uri="{BB962C8B-B14F-4D97-AF65-F5344CB8AC3E}">
        <p14:creationId xmlns:p14="http://schemas.microsoft.com/office/powerpoint/2010/main" val="192651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2B99B-F5A7-86C0-92EA-A818DE7318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161C73-F62B-BA3E-5250-CB7F9333F7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CD77F8-D38A-AD31-077A-8908DBEF39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71B7093-5B77-882E-4771-437AAED243CB}"/>
              </a:ext>
            </a:extLst>
          </p:cNvPr>
          <p:cNvSpPr>
            <a:spLocks noGrp="1"/>
          </p:cNvSpPr>
          <p:nvPr>
            <p:ph type="sldNum" sz="quarter" idx="5"/>
          </p:nvPr>
        </p:nvSpPr>
        <p:spPr/>
        <p:txBody>
          <a:bodyPr/>
          <a:lstStyle/>
          <a:p>
            <a:fld id="{DB221A22-6757-4DFC-AC52-B0B349051EA1}" type="slidenum">
              <a:rPr lang="en-US" smtClean="0"/>
              <a:t>14</a:t>
            </a:fld>
            <a:endParaRPr lang="en-US"/>
          </a:p>
        </p:txBody>
      </p:sp>
    </p:spTree>
    <p:extLst>
      <p:ext uri="{BB962C8B-B14F-4D97-AF65-F5344CB8AC3E}">
        <p14:creationId xmlns:p14="http://schemas.microsoft.com/office/powerpoint/2010/main" val="321535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36A3F-E274-AE21-B8A9-3EF81A17C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5B0072-23AA-2088-C9A9-7C49514238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26E6BA-E350-748E-F788-9C6C1E3D91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6EEFCF-5318-D8EB-680E-2E39C0632713}"/>
              </a:ext>
            </a:extLst>
          </p:cNvPr>
          <p:cNvSpPr>
            <a:spLocks noGrp="1"/>
          </p:cNvSpPr>
          <p:nvPr>
            <p:ph type="sldNum" sz="quarter" idx="5"/>
          </p:nvPr>
        </p:nvSpPr>
        <p:spPr/>
        <p:txBody>
          <a:bodyPr/>
          <a:lstStyle/>
          <a:p>
            <a:fld id="{DB221A22-6757-4DFC-AC52-B0B349051EA1}" type="slidenum">
              <a:rPr lang="en-US" smtClean="0"/>
              <a:t>16</a:t>
            </a:fld>
            <a:endParaRPr lang="en-US"/>
          </a:p>
        </p:txBody>
      </p:sp>
    </p:spTree>
    <p:extLst>
      <p:ext uri="{BB962C8B-B14F-4D97-AF65-F5344CB8AC3E}">
        <p14:creationId xmlns:p14="http://schemas.microsoft.com/office/powerpoint/2010/main" val="1820466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D325D-8573-F182-232B-8273B9FC0E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56DB11-9FD5-C513-B718-E89B35647A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C16E3C-B651-22C4-3FCB-36CCA47210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9DEC71A-C0DC-AA22-0A16-402FCB7F50EE}"/>
              </a:ext>
            </a:extLst>
          </p:cNvPr>
          <p:cNvSpPr>
            <a:spLocks noGrp="1"/>
          </p:cNvSpPr>
          <p:nvPr>
            <p:ph type="sldNum" sz="quarter" idx="5"/>
          </p:nvPr>
        </p:nvSpPr>
        <p:spPr/>
        <p:txBody>
          <a:bodyPr/>
          <a:lstStyle/>
          <a:p>
            <a:fld id="{DB221A22-6757-4DFC-AC52-B0B349051EA1}" type="slidenum">
              <a:rPr lang="en-US" smtClean="0"/>
              <a:t>19</a:t>
            </a:fld>
            <a:endParaRPr lang="en-US"/>
          </a:p>
        </p:txBody>
      </p:sp>
    </p:spTree>
    <p:extLst>
      <p:ext uri="{BB962C8B-B14F-4D97-AF65-F5344CB8AC3E}">
        <p14:creationId xmlns:p14="http://schemas.microsoft.com/office/powerpoint/2010/main" val="1520727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aracteristics</a:t>
            </a:r>
          </a:p>
          <a:p>
            <a:pPr lvl="1"/>
            <a:r>
              <a:rPr lang="en-US" b="1"/>
              <a:t>Tailored Logic</a:t>
            </a:r>
            <a:r>
              <a:rPr lang="en-US"/>
              <a:t>: They can implement specialized logic that is crucial for the business but not supported by the standard features of the platform.</a:t>
            </a:r>
          </a:p>
          <a:p>
            <a:pPr lvl="1"/>
            <a:r>
              <a:rPr lang="en-US" b="1"/>
              <a:t>Integration Flexibility</a:t>
            </a:r>
            <a:r>
              <a:rPr lang="en-US"/>
              <a:t>: They allow for more control over how systems interact, often necessary when dealing with legacy systems or niche applications.</a:t>
            </a:r>
          </a:p>
          <a:p>
            <a:pPr lvl="1"/>
            <a:r>
              <a:rPr lang="en-US" b="1"/>
              <a:t>Enhanced Data Handling</a:t>
            </a:r>
            <a:r>
              <a:rPr lang="en-US"/>
              <a:t>: Custom services can handle unique data formats, perform specific transformations, or meet unusual performance requirements.</a:t>
            </a:r>
          </a:p>
          <a:p>
            <a:r>
              <a:rPr lang="en-US" b="1"/>
              <a:t>Use Cases</a:t>
            </a:r>
          </a:p>
          <a:p>
            <a:pPr lvl="1"/>
            <a:r>
              <a:rPr lang="en-US" b="1"/>
              <a:t>Complex Data Transformations</a:t>
            </a:r>
            <a:r>
              <a:rPr lang="en-US"/>
              <a:t>: When data from external systems requires significant manipulation before it can be used.</a:t>
            </a:r>
          </a:p>
          <a:p>
            <a:pPr lvl="1"/>
            <a:r>
              <a:rPr lang="en-US" b="1"/>
              <a:t>Specialized Workflows</a:t>
            </a:r>
            <a:r>
              <a:rPr lang="en-US"/>
              <a:t>: Implementing workflows that are unique to a business, such as custom approval hierarchies or specialized reporting.</a:t>
            </a:r>
          </a:p>
          <a:p>
            <a:pPr lvl="1"/>
            <a:r>
              <a:rPr lang="en-US" b="1"/>
              <a:t>Regulatory Compliance</a:t>
            </a:r>
            <a:r>
              <a:rPr lang="en-US"/>
              <a:t>: Ensuring data handling and business processes comply with industry-specific regulations which are not covered by general solutions.</a:t>
            </a:r>
          </a:p>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20</a:t>
            </a:fld>
            <a:endParaRPr lang="en-US"/>
          </a:p>
        </p:txBody>
      </p:sp>
    </p:spTree>
    <p:extLst>
      <p:ext uri="{BB962C8B-B14F-4D97-AF65-F5344CB8AC3E}">
        <p14:creationId xmlns:p14="http://schemas.microsoft.com/office/powerpoint/2010/main" val="2063357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44ACF-F78C-3093-8034-1780CCB642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608F3-02FA-8CA0-EDDB-758DE68253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933E52-E7EE-627D-6156-B54D9D98D5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5B834EA-801C-4258-8E3D-415EE8609F34}"/>
              </a:ext>
            </a:extLst>
          </p:cNvPr>
          <p:cNvSpPr>
            <a:spLocks noGrp="1"/>
          </p:cNvSpPr>
          <p:nvPr>
            <p:ph type="sldNum" sz="quarter" idx="5"/>
          </p:nvPr>
        </p:nvSpPr>
        <p:spPr/>
        <p:txBody>
          <a:bodyPr/>
          <a:lstStyle/>
          <a:p>
            <a:fld id="{DB221A22-6757-4DFC-AC52-B0B349051EA1}" type="slidenum">
              <a:rPr lang="en-US" smtClean="0"/>
              <a:t>40</a:t>
            </a:fld>
            <a:endParaRPr lang="en-US"/>
          </a:p>
        </p:txBody>
      </p:sp>
    </p:spTree>
    <p:extLst>
      <p:ext uri="{BB962C8B-B14F-4D97-AF65-F5344CB8AC3E}">
        <p14:creationId xmlns:p14="http://schemas.microsoft.com/office/powerpoint/2010/main" val="35218768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4E358-96BB-E6C6-4AE7-FE4E3F6BA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14C5ED-B4C1-81E4-EA72-CB61E3A32D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93BBD-E82B-7D57-3028-154305CB9C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2A8BFD-443B-37DC-BB98-8EDCB4AA2271}"/>
              </a:ext>
            </a:extLst>
          </p:cNvPr>
          <p:cNvSpPr>
            <a:spLocks noGrp="1"/>
          </p:cNvSpPr>
          <p:nvPr>
            <p:ph type="sldNum" sz="quarter" idx="5"/>
          </p:nvPr>
        </p:nvSpPr>
        <p:spPr/>
        <p:txBody>
          <a:bodyPr/>
          <a:lstStyle/>
          <a:p>
            <a:fld id="{DB221A22-6757-4DFC-AC52-B0B349051EA1}" type="slidenum">
              <a:rPr lang="en-US" smtClean="0"/>
              <a:t>41</a:t>
            </a:fld>
            <a:endParaRPr lang="en-US"/>
          </a:p>
        </p:txBody>
      </p:sp>
    </p:spTree>
    <p:extLst>
      <p:ext uri="{BB962C8B-B14F-4D97-AF65-F5344CB8AC3E}">
        <p14:creationId xmlns:p14="http://schemas.microsoft.com/office/powerpoint/2010/main" val="622464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CFDA5-BA1A-D5E0-0572-404A72A5C2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3D4B7E-9851-BB11-D50A-AF0FBE135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644D4-872A-6DFD-836E-43034B98B6E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08CDB4BD-246B-1D5A-5609-FDCE1F213A71}"/>
              </a:ext>
            </a:extLst>
          </p:cNvPr>
          <p:cNvSpPr>
            <a:spLocks noGrp="1"/>
          </p:cNvSpPr>
          <p:nvPr>
            <p:ph type="sldNum" sz="quarter" idx="5"/>
          </p:nvPr>
        </p:nvSpPr>
        <p:spPr/>
        <p:txBody>
          <a:bodyPr/>
          <a:lstStyle/>
          <a:p>
            <a:fld id="{DB221A22-6757-4DFC-AC52-B0B349051EA1}" type="slidenum">
              <a:rPr lang="en-US" smtClean="0"/>
              <a:t>42</a:t>
            </a:fld>
            <a:endParaRPr lang="en-US"/>
          </a:p>
        </p:txBody>
      </p:sp>
    </p:spTree>
    <p:extLst>
      <p:ext uri="{BB962C8B-B14F-4D97-AF65-F5344CB8AC3E}">
        <p14:creationId xmlns:p14="http://schemas.microsoft.com/office/powerpoint/2010/main" val="3363218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49CFB-27AE-C22A-AE27-C852C12079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632DF4-8A85-2249-E862-3410B89B11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B2062-8173-04A5-CFBF-67D929DB4B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BDC39A-077D-B14B-B477-CEACCEA0EF7E}"/>
              </a:ext>
            </a:extLst>
          </p:cNvPr>
          <p:cNvSpPr>
            <a:spLocks noGrp="1"/>
          </p:cNvSpPr>
          <p:nvPr>
            <p:ph type="sldNum" sz="quarter" idx="5"/>
          </p:nvPr>
        </p:nvSpPr>
        <p:spPr/>
        <p:txBody>
          <a:bodyPr/>
          <a:lstStyle/>
          <a:p>
            <a:fld id="{DB221A22-6757-4DFC-AC52-B0B349051EA1}" type="slidenum">
              <a:rPr lang="en-US" smtClean="0"/>
              <a:t>43</a:t>
            </a:fld>
            <a:endParaRPr lang="en-US"/>
          </a:p>
        </p:txBody>
      </p:sp>
    </p:spTree>
    <p:extLst>
      <p:ext uri="{BB962C8B-B14F-4D97-AF65-F5344CB8AC3E}">
        <p14:creationId xmlns:p14="http://schemas.microsoft.com/office/powerpoint/2010/main" val="3036020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7F95F-FB4E-FFAE-DC0A-9FD3CBF6DC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FC4756-6548-89C4-BEA4-25EE010AFD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FF73E5-6E5D-C414-5821-7914FB4DBA03}"/>
              </a:ext>
            </a:extLst>
          </p:cNvPr>
          <p:cNvSpPr>
            <a:spLocks noGrp="1"/>
          </p:cNvSpPr>
          <p:nvPr>
            <p:ph type="body" idx="1"/>
          </p:nvPr>
        </p:nvSpPr>
        <p:spPr/>
        <p:txBody>
          <a:bodyPr/>
          <a:lstStyle/>
          <a:p>
            <a:endParaRPr lang="en-US"/>
          </a:p>
          <a:p>
            <a:endParaRPr lang="en-US"/>
          </a:p>
        </p:txBody>
      </p:sp>
      <p:sp>
        <p:nvSpPr>
          <p:cNvPr id="4" name="Slide Number Placeholder 3">
            <a:extLst>
              <a:ext uri="{FF2B5EF4-FFF2-40B4-BE49-F238E27FC236}">
                <a16:creationId xmlns:a16="http://schemas.microsoft.com/office/drawing/2014/main" id="{6D966F98-15EB-4229-CDE7-1EA022C1A727}"/>
              </a:ext>
            </a:extLst>
          </p:cNvPr>
          <p:cNvSpPr>
            <a:spLocks noGrp="1"/>
          </p:cNvSpPr>
          <p:nvPr>
            <p:ph type="sldNum" sz="quarter" idx="5"/>
          </p:nvPr>
        </p:nvSpPr>
        <p:spPr/>
        <p:txBody>
          <a:bodyPr/>
          <a:lstStyle/>
          <a:p>
            <a:fld id="{DB221A22-6757-4DFC-AC52-B0B349051EA1}" type="slidenum">
              <a:rPr lang="en-US" smtClean="0"/>
              <a:t>44</a:t>
            </a:fld>
            <a:endParaRPr lang="en-US"/>
          </a:p>
        </p:txBody>
      </p:sp>
    </p:spTree>
    <p:extLst>
      <p:ext uri="{BB962C8B-B14F-4D97-AF65-F5344CB8AC3E}">
        <p14:creationId xmlns:p14="http://schemas.microsoft.com/office/powerpoint/2010/main" val="7627259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F9A34-42C8-BAB8-52F3-5C049FB56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DC6747-6F80-65D0-B209-137FDAA6D1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5BB3F9-97DF-C309-437B-619A5D4B00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C0DAC313-DD28-D0F7-4F1D-C7FE8BCA0844}"/>
              </a:ext>
            </a:extLst>
          </p:cNvPr>
          <p:cNvSpPr>
            <a:spLocks noGrp="1"/>
          </p:cNvSpPr>
          <p:nvPr>
            <p:ph type="sldNum" sz="quarter" idx="5"/>
          </p:nvPr>
        </p:nvSpPr>
        <p:spPr/>
        <p:txBody>
          <a:bodyPr/>
          <a:lstStyle/>
          <a:p>
            <a:fld id="{DB221A22-6757-4DFC-AC52-B0B349051EA1}" type="slidenum">
              <a:rPr lang="en-US" smtClean="0"/>
              <a:t>47</a:t>
            </a:fld>
            <a:endParaRPr lang="en-US"/>
          </a:p>
        </p:txBody>
      </p:sp>
    </p:spTree>
    <p:extLst>
      <p:ext uri="{BB962C8B-B14F-4D97-AF65-F5344CB8AC3E}">
        <p14:creationId xmlns:p14="http://schemas.microsoft.com/office/powerpoint/2010/main" val="2682770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3B7691-28ED-2FEB-E5CD-C457A092C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3AA4FC-A800-B3FA-644E-C5EE0F14AF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3B452D-F583-2654-5D5A-70867690B1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B2CFD6F3-D28C-31A0-50DF-4D0BCCFC697B}"/>
              </a:ext>
            </a:extLst>
          </p:cNvPr>
          <p:cNvSpPr>
            <a:spLocks noGrp="1"/>
          </p:cNvSpPr>
          <p:nvPr>
            <p:ph type="sldNum" sz="quarter" idx="5"/>
          </p:nvPr>
        </p:nvSpPr>
        <p:spPr/>
        <p:txBody>
          <a:bodyPr/>
          <a:lstStyle/>
          <a:p>
            <a:fld id="{DB221A22-6757-4DFC-AC52-B0B349051EA1}" type="slidenum">
              <a:rPr lang="en-US" smtClean="0"/>
              <a:t>2</a:t>
            </a:fld>
            <a:endParaRPr lang="en-US"/>
          </a:p>
        </p:txBody>
      </p:sp>
    </p:spTree>
    <p:extLst>
      <p:ext uri="{BB962C8B-B14F-4D97-AF65-F5344CB8AC3E}">
        <p14:creationId xmlns:p14="http://schemas.microsoft.com/office/powerpoint/2010/main" val="2707276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6D40C-E20E-4FA6-3519-49BF50692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C8C885-3909-3093-1B1A-42EDC2BB93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AD3D8-2B69-E33A-6490-0E74FBA2306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2DE9021-EB98-9376-C095-1E09723FB671}"/>
              </a:ext>
            </a:extLst>
          </p:cNvPr>
          <p:cNvSpPr>
            <a:spLocks noGrp="1"/>
          </p:cNvSpPr>
          <p:nvPr>
            <p:ph type="sldNum" sz="quarter" idx="5"/>
          </p:nvPr>
        </p:nvSpPr>
        <p:spPr/>
        <p:txBody>
          <a:bodyPr/>
          <a:lstStyle/>
          <a:p>
            <a:fld id="{DB221A22-6757-4DFC-AC52-B0B349051EA1}" type="slidenum">
              <a:rPr lang="en-US" smtClean="0"/>
              <a:t>3</a:t>
            </a:fld>
            <a:endParaRPr lang="en-US"/>
          </a:p>
        </p:txBody>
      </p:sp>
    </p:spTree>
    <p:extLst>
      <p:ext uri="{BB962C8B-B14F-4D97-AF65-F5344CB8AC3E}">
        <p14:creationId xmlns:p14="http://schemas.microsoft.com/office/powerpoint/2010/main" val="513966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FF667-E571-C550-C7BA-0DE954EFED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FAA507-E3D4-367A-57AE-D720CD0BCD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9F61E0-7EE3-584C-9D99-6AF292E25D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B8D44B3-5F9F-7920-7289-19C461F53426}"/>
              </a:ext>
            </a:extLst>
          </p:cNvPr>
          <p:cNvSpPr>
            <a:spLocks noGrp="1"/>
          </p:cNvSpPr>
          <p:nvPr>
            <p:ph type="sldNum" sz="quarter" idx="5"/>
          </p:nvPr>
        </p:nvSpPr>
        <p:spPr/>
        <p:txBody>
          <a:bodyPr/>
          <a:lstStyle/>
          <a:p>
            <a:fld id="{DB221A22-6757-4DFC-AC52-B0B349051EA1}" type="slidenum">
              <a:rPr lang="en-US" smtClean="0"/>
              <a:t>4</a:t>
            </a:fld>
            <a:endParaRPr lang="en-US"/>
          </a:p>
        </p:txBody>
      </p:sp>
    </p:spTree>
    <p:extLst>
      <p:ext uri="{BB962C8B-B14F-4D97-AF65-F5344CB8AC3E}">
        <p14:creationId xmlns:p14="http://schemas.microsoft.com/office/powerpoint/2010/main" val="2775099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a:t>
            </a:fld>
            <a:endParaRPr lang="en-US"/>
          </a:p>
        </p:txBody>
      </p:sp>
    </p:spTree>
    <p:extLst>
      <p:ext uri="{BB962C8B-B14F-4D97-AF65-F5344CB8AC3E}">
        <p14:creationId xmlns:p14="http://schemas.microsoft.com/office/powerpoint/2010/main" val="4126144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7F48E-C24E-90ED-664B-0640A2AA6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814B6F-C920-6B30-C393-21D15DD70E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4848B8-0E88-A52E-F33A-1969A952E34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Quick callout.  Data events and dual write do NOT play well together.  Our advice?  Choose one pattern and stick with it. </a:t>
            </a:r>
          </a:p>
          <a:p>
            <a:endParaRPr lang="en-US"/>
          </a:p>
        </p:txBody>
      </p:sp>
      <p:sp>
        <p:nvSpPr>
          <p:cNvPr id="4" name="Slide Number Placeholder 3">
            <a:extLst>
              <a:ext uri="{FF2B5EF4-FFF2-40B4-BE49-F238E27FC236}">
                <a16:creationId xmlns:a16="http://schemas.microsoft.com/office/drawing/2014/main" id="{B545703C-AFAB-4AE4-3FC6-48D250D7168D}"/>
              </a:ext>
            </a:extLst>
          </p:cNvPr>
          <p:cNvSpPr>
            <a:spLocks noGrp="1"/>
          </p:cNvSpPr>
          <p:nvPr>
            <p:ph type="sldNum" sz="quarter" idx="5"/>
          </p:nvPr>
        </p:nvSpPr>
        <p:spPr/>
        <p:txBody>
          <a:bodyPr/>
          <a:lstStyle/>
          <a:p>
            <a:fld id="{DB221A22-6757-4DFC-AC52-B0B349051EA1}" type="slidenum">
              <a:rPr lang="en-US" smtClean="0"/>
              <a:t>6</a:t>
            </a:fld>
            <a:endParaRPr lang="en-US"/>
          </a:p>
        </p:txBody>
      </p:sp>
    </p:spTree>
    <p:extLst>
      <p:ext uri="{BB962C8B-B14F-4D97-AF65-F5344CB8AC3E}">
        <p14:creationId xmlns:p14="http://schemas.microsoft.com/office/powerpoint/2010/main" val="3113606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35AB5-081C-DA8A-6D75-75EDDADD6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4EB8A8-55A0-1729-D7FB-F95D9CA9D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6DF50F-3FCD-64CE-8A22-5D2BDC673B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8E090E-ECBC-9799-34AA-FECDE3DB6CB3}"/>
              </a:ext>
            </a:extLst>
          </p:cNvPr>
          <p:cNvSpPr>
            <a:spLocks noGrp="1"/>
          </p:cNvSpPr>
          <p:nvPr>
            <p:ph type="sldNum" sz="quarter" idx="5"/>
          </p:nvPr>
        </p:nvSpPr>
        <p:spPr/>
        <p:txBody>
          <a:bodyPr/>
          <a:lstStyle/>
          <a:p>
            <a:fld id="{DB221A22-6757-4DFC-AC52-B0B349051EA1}" type="slidenum">
              <a:rPr lang="en-US" smtClean="0"/>
              <a:t>7</a:t>
            </a:fld>
            <a:endParaRPr lang="en-US"/>
          </a:p>
        </p:txBody>
      </p:sp>
    </p:spTree>
    <p:extLst>
      <p:ext uri="{BB962C8B-B14F-4D97-AF65-F5344CB8AC3E}">
        <p14:creationId xmlns:p14="http://schemas.microsoft.com/office/powerpoint/2010/main" val="1991599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F6370-FDD8-76BA-8F1D-D03B028349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BFF8D7-65B3-8DD7-F469-75DF0D2E84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59181-BE27-1839-532E-4F60F0920F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CDA4F6-744A-E08C-C9EA-D919A14CBA3E}"/>
              </a:ext>
            </a:extLst>
          </p:cNvPr>
          <p:cNvSpPr>
            <a:spLocks noGrp="1"/>
          </p:cNvSpPr>
          <p:nvPr>
            <p:ph type="sldNum" sz="quarter" idx="5"/>
          </p:nvPr>
        </p:nvSpPr>
        <p:spPr/>
        <p:txBody>
          <a:bodyPr/>
          <a:lstStyle/>
          <a:p>
            <a:fld id="{DB221A22-6757-4DFC-AC52-B0B349051EA1}" type="slidenum">
              <a:rPr lang="en-US" smtClean="0"/>
              <a:t>8</a:t>
            </a:fld>
            <a:endParaRPr lang="en-US"/>
          </a:p>
        </p:txBody>
      </p:sp>
    </p:spTree>
    <p:extLst>
      <p:ext uri="{BB962C8B-B14F-4D97-AF65-F5344CB8AC3E}">
        <p14:creationId xmlns:p14="http://schemas.microsoft.com/office/powerpoint/2010/main" val="1973888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AE58B-679A-6F13-F0F3-C403D9CF0E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B2593-10C6-387F-4E60-E7C25C0A95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7F91CE-6856-1E16-71DB-BAF39DB5D3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A86E06B-1A13-A0F5-0A71-84DD8CED3507}"/>
              </a:ext>
            </a:extLst>
          </p:cNvPr>
          <p:cNvSpPr>
            <a:spLocks noGrp="1"/>
          </p:cNvSpPr>
          <p:nvPr>
            <p:ph type="sldNum" sz="quarter" idx="5"/>
          </p:nvPr>
        </p:nvSpPr>
        <p:spPr/>
        <p:txBody>
          <a:bodyPr/>
          <a:lstStyle/>
          <a:p>
            <a:fld id="{DB221A22-6757-4DFC-AC52-B0B349051EA1}" type="slidenum">
              <a:rPr lang="en-US" smtClean="0"/>
              <a:t>9</a:t>
            </a:fld>
            <a:endParaRPr lang="en-US"/>
          </a:p>
        </p:txBody>
      </p:sp>
    </p:spTree>
    <p:extLst>
      <p:ext uri="{BB962C8B-B14F-4D97-AF65-F5344CB8AC3E}">
        <p14:creationId xmlns:p14="http://schemas.microsoft.com/office/powerpoint/2010/main" val="1259466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5BF1E-1166-42E4-A650-DA8B4F7A4A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E45B50-3542-4823-BBEB-016A3A15D8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0FC5B5-1E1F-4F0D-B339-EA77AC1BB0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4491C48-D9A0-4212-BCF5-162DC3A6DE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4B34A6-D8EB-4985-AFC2-02935CB5BEA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58243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58ECF-D4A1-455D-9C89-5A8918AFA0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CD0D2A3-2723-4E51-91B3-96FFD9473F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EA93C8-8A6A-48B8-B7B4-54AC10D34EF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ABC066-172F-47A4-8A21-C259819B8F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0ADF40-0E2A-4CEA-BE91-AD2B23CCE4F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4066357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79E898-53E5-4DB6-8E1F-441A34BE954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A75BBB-D183-48AD-B055-BEDA3A1886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37008-1508-4D8A-AFCC-DD48481AE4E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F37FAC-F0B4-471F-B51A-D1C1468ACF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A7B634-79C3-488C-BF4B-4BC20173C5D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1330022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White Blank">
    <p:bg>
      <p:bgPr>
        <a:solidFill>
          <a:schemeClr val="bg1">
            <a:alpha val="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E3262-3664-F569-AA5C-D743AAC66915}"/>
              </a:ext>
            </a:extLst>
          </p:cNvPr>
          <p:cNvSpPr>
            <a:spLocks noGrp="1"/>
          </p:cNvSpPr>
          <p:nvPr userDrawn="1">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1584729-C19E-E7D3-7209-403255BCE506}"/>
              </a:ext>
            </a:extLst>
          </p:cNvPr>
          <p:cNvSpPr>
            <a:spLocks noGrp="1"/>
          </p:cNvSpPr>
          <p:nvPr userDrawn="1">
            <p:ph type="ftr" sz="quarter" idx="10"/>
          </p:nvPr>
        </p:nvSpPr>
        <p:spPr/>
        <p:txBody>
          <a:bodyPr/>
          <a:lstStyle/>
          <a:p>
            <a:endParaRPr lang="en-US"/>
          </a:p>
        </p:txBody>
      </p:sp>
      <p:sp>
        <p:nvSpPr>
          <p:cNvPr id="56" name="Text Placeholder 55">
            <a:extLst>
              <a:ext uri="{FF2B5EF4-FFF2-40B4-BE49-F238E27FC236}">
                <a16:creationId xmlns:a16="http://schemas.microsoft.com/office/drawing/2014/main" id="{2E2B6050-233E-98DD-81C6-E45863DFF79D}"/>
              </a:ext>
            </a:extLst>
          </p:cNvPr>
          <p:cNvSpPr>
            <a:spLocks noGrp="1"/>
          </p:cNvSpPr>
          <p:nvPr userDrawn="1">
            <p:ph type="body" sz="quarter" idx="12"/>
          </p:nvPr>
        </p:nvSpPr>
        <p:spPr>
          <a:xfrm>
            <a:off x="500064" y="1227064"/>
            <a:ext cx="11188700" cy="49070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369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FFCFD5-7549-46DE-99AE-A249D5D5F38F}"/>
              </a:ext>
            </a:extLst>
          </p:cNvPr>
          <p:cNvGraphicFramePr>
            <a:graphicFrameLocks noChangeAspect="1"/>
          </p:cNvGraphicFramePr>
          <p:nvPr userDrawn="1">
            <p:custDataLst>
              <p:tags r:id="rId1"/>
            </p:custDataLst>
            <p:extLst>
              <p:ext uri="{D42A27DB-BD31-4B8C-83A1-F6EECF244321}">
                <p14:modId xmlns:p14="http://schemas.microsoft.com/office/powerpoint/2010/main" val="401791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0" name="Object 9" hidden="1">
                        <a:extLst>
                          <a:ext uri="{FF2B5EF4-FFF2-40B4-BE49-F238E27FC236}">
                            <a16:creationId xmlns:a16="http://schemas.microsoft.com/office/drawing/2014/main" id="{F5FFCFD5-7549-46DE-99AE-A249D5D5F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E13E35-06C7-4AAE-AA3F-972308AF3A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F8300B4D-EA0D-4DD5-92FE-9AE5CDD9248C}"/>
              </a:ext>
            </a:extLst>
          </p:cNvPr>
          <p:cNvSpPr/>
          <p:nvPr userDrawn="1"/>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3AD22B-25E4-4680-8484-6D885B9CCEE8}"/>
              </a:ext>
            </a:extLst>
          </p:cNvPr>
          <p:cNvSpPr/>
          <p:nvPr userDrawn="1"/>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4EED8CC-574A-4170-AB23-424B7F5BDF08}"/>
              </a:ext>
            </a:extLst>
          </p:cNvPr>
          <p:cNvSpPr>
            <a:spLocks noGrp="1"/>
          </p:cNvSpPr>
          <p:nvPr>
            <p:ph type="title"/>
          </p:nvPr>
        </p:nvSpPr>
        <p:spPr>
          <a:xfrm>
            <a:off x="564243" y="365125"/>
            <a:ext cx="11063515"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18B05A6-6B64-4F04-A952-8081607C02E5}"/>
              </a:ext>
            </a:extLst>
          </p:cNvPr>
          <p:cNvSpPr>
            <a:spLocks noGrp="1"/>
          </p:cNvSpPr>
          <p:nvPr>
            <p:ph idx="1"/>
          </p:nvPr>
        </p:nvSpPr>
        <p:spPr>
          <a:xfrm>
            <a:off x="564243" y="1825625"/>
            <a:ext cx="110635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A798E3A-8CEB-4709-9B49-E0C39D4180F1}"/>
              </a:ext>
            </a:extLst>
          </p:cNvPr>
          <p:cNvSpPr>
            <a:spLocks noGrp="1"/>
          </p:cNvSpPr>
          <p:nvPr>
            <p:ph type="ftr" sz="quarter" idx="11"/>
          </p:nvPr>
        </p:nvSpPr>
        <p:spPr>
          <a:xfrm>
            <a:off x="564243" y="6356350"/>
            <a:ext cx="4114800" cy="365125"/>
          </a:xfrm>
        </p:spPr>
        <p:txBody>
          <a:bodyPr/>
          <a:lstStyle>
            <a:lvl1pPr algn="l">
              <a:defRPr/>
            </a:lvl1pPr>
          </a:lstStyle>
          <a:p>
            <a:pPr algn="l"/>
            <a:endParaRPr lang="en-US"/>
          </a:p>
        </p:txBody>
      </p:sp>
      <p:sp>
        <p:nvSpPr>
          <p:cNvPr id="6" name="Slide Number Placeholder 5">
            <a:extLst>
              <a:ext uri="{FF2B5EF4-FFF2-40B4-BE49-F238E27FC236}">
                <a16:creationId xmlns:a16="http://schemas.microsoft.com/office/drawing/2014/main" id="{9E743404-9A57-4735-ACBB-7108D1A42753}"/>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a:t>
            </a:fld>
            <a:endParaRPr lang="en-US"/>
          </a:p>
        </p:txBody>
      </p:sp>
    </p:spTree>
    <p:extLst>
      <p:ext uri="{BB962C8B-B14F-4D97-AF65-F5344CB8AC3E}">
        <p14:creationId xmlns:p14="http://schemas.microsoft.com/office/powerpoint/2010/main" val="1079056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BC0DB-6472-43BB-ABA8-D8F66889EE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6A6C4A-7E58-4AE3-A079-EA1D8F7E5D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3E6C5A-FADC-4464-B574-84BE9A9AE82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D5AB64-3B8F-469A-9E9D-31AF0A6732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44728-1BF7-442A-8B14-27772F7F2824}"/>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81052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073B3-B0D0-4D5C-92E7-2AAFB805B1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5FC71F-EE36-48B6-8807-2B48ADDC14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774ED-94F7-48EB-BB14-292A9DEEAC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0125242-488C-4F35-9C69-034559477E4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85215A4-C697-4853-B389-4388146820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855D4F-3EC5-48E5-93CF-5B395574324E}"/>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2479517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5FD3B-62B2-40A7-9C5E-D59A563B852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4B52F2-0C45-40FA-BA05-6D71C7675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3162A5-558A-4178-A596-17F9AF8950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E18D29-500B-4D5C-84EE-272E40FA2C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8AE882-0C6C-4945-9BD8-8C7D92F8A4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AFC0EB-3EF1-49E9-9D2B-5BC44206CE2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9879882-1555-42E6-BADE-2724267BFE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CF01C58-BCC5-4D09-986E-2B2C179B6A2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789777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00A9B-3C47-40D5-B012-97B76E52F1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CFC465-660A-4C1D-BADB-F3AC3396EA4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B1BCC98-DE68-44EC-840A-9FB43DB0E0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09EF7D-6C8E-4283-BB47-AA9AB6DB1F89}"/>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687957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42AA79-F984-4422-BF6F-50883D79C84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0D2003D-CE92-47E4-8106-E66ED1BB91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63EB9E-00B9-4AB1-BC48-99741F2FC00B}"/>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268162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5B6F4-ADD4-4797-8738-409BE6538E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92E08F3-F99C-4CB5-8E61-6D9945F554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81CE58-44DA-48F3-ADE9-ED905CAD55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6EB04A-137F-416C-9B0B-195B39A68BE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775602A-70AE-46FE-89FD-5EA00F3965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F55F41-E685-4D3D-9929-3E02B72332D2}"/>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394963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18340-4AF0-4FF0-8817-AE7B28572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FB86DB-D51B-4F95-A82B-E19F9D7364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60E2CC-1033-48AC-9E85-26A7C2E898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5152D4-B87B-4D90-9451-5EA4B577FD2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C44E855-F194-46C7-B1A7-F4AB5C0AA3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DD6947-6438-4AB6-958F-A11FF5ED674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366015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91C388-EB4B-48EF-9782-5EF82E15A8F6}"/>
              </a:ext>
            </a:extLst>
          </p:cNvPr>
          <p:cNvGraphicFramePr>
            <a:graphicFrameLocks noChangeAspect="1"/>
          </p:cNvGraphicFramePr>
          <p:nvPr userDrawn="1">
            <p:custDataLst>
              <p:tags r:id="rId14"/>
            </p:custDataLst>
            <p:extLst>
              <p:ext uri="{D42A27DB-BD31-4B8C-83A1-F6EECF244321}">
                <p14:modId xmlns:p14="http://schemas.microsoft.com/office/powerpoint/2010/main" val="397365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CF91C388-EB4B-48EF-9782-5EF82E15A8F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704376-6210-4E3A-9786-1426DDE0A945}"/>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C20A06BC-D081-497A-9E69-9C9229194D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11365F-4FB0-4D50-AD30-EB300A5FDD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575C3-6B77-45F9-8BB3-CF2AEE26EF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9FB4E16-9F6A-4AE3-A484-182F2B6722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1B73065-0481-485F-8A72-5FC7E24E89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05A9CD-9176-4D89-A414-3BEEE81BBC77}" type="slidenum">
              <a:rPr lang="en-US" smtClean="0"/>
              <a:t>‹#›</a:t>
            </a:fld>
            <a:endParaRPr lang="en-US"/>
          </a:p>
        </p:txBody>
      </p:sp>
    </p:spTree>
    <p:extLst>
      <p:ext uri="{BB962C8B-B14F-4D97-AF65-F5344CB8AC3E}">
        <p14:creationId xmlns:p14="http://schemas.microsoft.com/office/powerpoint/2010/main" val="19143767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0.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1.jpe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png"/><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2.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3.xml"/><Relationship Id="rId7"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png"/><Relationship Id="rId9"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dynamics365/fin-ops-core/dev-itpro/data-entities/priority-based-throttling" TargetMode="External"/><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1.png"/><Relationship Id="rId4" Type="http://schemas.openxmlformats.org/officeDocument/2006/relationships/hyperlink" Target="https://community.dynamics.com/blogs/post/?postid=58b34404-f895-4a1e-abfa-50532847a1d8"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xml"/><Relationship Id="rId7"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png"/><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21.jpeg"/><Relationship Id="rId4" Type="http://schemas.openxmlformats.org/officeDocument/2006/relationships/notesSlide" Target="../notesSlides/notesSlide14.xml"/><Relationship Id="rId9" Type="http://schemas.openxmlformats.org/officeDocument/2006/relationships/image" Target="../media/image49.png"/></Relationships>
</file>

<file path=ppt/slides/_rels/slide4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2.xml"/><Relationship Id="rId7" Type="http://schemas.openxmlformats.org/officeDocument/2006/relationships/image" Target="../media/image49.png"/><Relationship Id="rId12" Type="http://schemas.openxmlformats.org/officeDocument/2006/relationships/image" Target="../media/image21.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7.bin"/><Relationship Id="rId10" Type="http://schemas.openxmlformats.org/officeDocument/2006/relationships/image" Target="../media/image52.png"/><Relationship Id="rId4" Type="http://schemas.openxmlformats.org/officeDocument/2006/relationships/notesSlide" Target="../notesSlides/notesSlide15.xml"/><Relationship Id="rId9" Type="http://schemas.openxmlformats.org/officeDocument/2006/relationships/image" Target="../media/image51.png"/></Relationships>
</file>

<file path=ppt/slides/_rels/slide4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53.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21.jpeg"/><Relationship Id="rId4" Type="http://schemas.openxmlformats.org/officeDocument/2006/relationships/notesSlide" Target="../notesSlides/notesSlide16.xml"/><Relationship Id="rId9" Type="http://schemas.openxmlformats.org/officeDocument/2006/relationships/image" Target="../media/image54.png"/></Relationships>
</file>

<file path=ppt/slides/_rels/slide4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21.jpeg"/><Relationship Id="rId4" Type="http://schemas.openxmlformats.org/officeDocument/2006/relationships/notesSlide" Target="../notesSlides/notesSlide17.xml"/><Relationship Id="rId9" Type="http://schemas.openxmlformats.org/officeDocument/2006/relationships/image" Target="../media/image5.png"/></Relationships>
</file>

<file path=ppt/slides/_rels/slide4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21.jpeg"/><Relationship Id="rId3" Type="http://schemas.openxmlformats.org/officeDocument/2006/relationships/slideLayout" Target="../slideLayouts/slideLayout2.xml"/><Relationship Id="rId7" Type="http://schemas.openxmlformats.org/officeDocument/2006/relationships/image" Target="../media/image49.png"/><Relationship Id="rId12" Type="http://schemas.openxmlformats.org/officeDocument/2006/relationships/image" Target="../media/image58.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57.png"/><Relationship Id="rId5" Type="http://schemas.openxmlformats.org/officeDocument/2006/relationships/oleObject" Target="../embeddings/oleObject10.bin"/><Relationship Id="rId10" Type="http://schemas.openxmlformats.org/officeDocument/2006/relationships/image" Target="../media/image56.png"/><Relationship Id="rId4" Type="http://schemas.openxmlformats.org/officeDocument/2006/relationships/notesSlide" Target="../notesSlides/notesSlide18.xml"/><Relationship Id="rId9" Type="http://schemas.openxmlformats.org/officeDocument/2006/relationships/image" Target="../media/image6.png"/></Relationships>
</file>

<file path=ppt/slides/_rels/slide45.xml.rels><?xml version="1.0" encoding="UTF-8" standalone="yes"?>
<Relationships xmlns="http://schemas.openxmlformats.org/package/2006/relationships"><Relationship Id="rId3" Type="http://schemas.openxmlformats.org/officeDocument/2006/relationships/hyperlink" Target="https://azureintegrations.com/" TargetMode="External"/><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hyperlink" Target="https://dynamics365musings.com/" TargetMode="External"/><Relationship Id="rId4" Type="http://schemas.openxmlformats.org/officeDocument/2006/relationships/hyperlink" Target="https://www.atomicax.com/content/odata-experiment-deep-dive-odata-and-how-use-it"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3.jpeg"/><Relationship Id="rId3" Type="http://schemas.openxmlformats.org/officeDocument/2006/relationships/notesSlide" Target="../notesSlides/notesSlide19.xml"/><Relationship Id="rId7" Type="http://schemas.openxmlformats.org/officeDocument/2006/relationships/image" Target="../media/image59.png"/><Relationship Id="rId12" Type="http://schemas.openxmlformats.org/officeDocument/2006/relationships/image" Target="../media/image62.jpeg"/><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3.bin"/><Relationship Id="rId10" Type="http://schemas.openxmlformats.org/officeDocument/2006/relationships/image" Target="../media/image7.png"/><Relationship Id="rId4" Type="http://schemas.openxmlformats.org/officeDocument/2006/relationships/image" Target="../media/image12.png"/><Relationship Id="rId9" Type="http://schemas.openxmlformats.org/officeDocument/2006/relationships/image" Target="../media/image61.png"/><Relationship Id="rId14" Type="http://schemas.openxmlformats.org/officeDocument/2006/relationships/image" Target="../media/image64.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7.png"/><Relationship Id="rId3" Type="http://schemas.openxmlformats.org/officeDocument/2006/relationships/notesSlide" Target="../notesSlides/notesSlide5.xml"/><Relationship Id="rId7" Type="http://schemas.openxmlformats.org/officeDocument/2006/relationships/image" Target="../media/image1.emf"/><Relationship Id="rId12"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oleObject" Target="../embeddings/oleObject3.bin"/><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9.png"/><Relationship Id="rId10" Type="http://schemas.openxmlformats.org/officeDocument/2006/relationships/image" Target="../media/image3.png"/><Relationship Id="rId4" Type="http://schemas.openxmlformats.org/officeDocument/2006/relationships/image" Target="../media/image2.jpeg"/><Relationship Id="rId9" Type="http://schemas.openxmlformats.org/officeDocument/2006/relationships/image" Target="../media/image14.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 Id="rId9" Type="http://schemas.openxmlformats.org/officeDocument/2006/relationships/image" Target="../media/image21.jpe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7.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1.jpe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8.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25.png"/><Relationship Id="rId12" Type="http://schemas.openxmlformats.org/officeDocument/2006/relationships/image" Target="../media/image21.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5.bin"/><Relationship Id="rId10" Type="http://schemas.openxmlformats.org/officeDocument/2006/relationships/image" Target="../media/image28.png"/><Relationship Id="rId4" Type="http://schemas.openxmlformats.org/officeDocument/2006/relationships/notesSlide" Target="../notesSlides/notesSlide9.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A50BD54-6EF0-41DB-8B78-7B3979203725}"/>
              </a:ext>
            </a:extLst>
          </p:cNvPr>
          <p:cNvGraphicFramePr>
            <a:graphicFrameLocks noChangeAspect="1"/>
          </p:cNvGraphicFramePr>
          <p:nvPr>
            <p:custDataLst>
              <p:tags r:id="rId1"/>
            </p:custDataLst>
            <p:extLst>
              <p:ext uri="{D42A27DB-BD31-4B8C-83A1-F6EECF244321}">
                <p14:modId xmlns:p14="http://schemas.microsoft.com/office/powerpoint/2010/main" val="48983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3A50BD54-6EF0-41DB-8B78-7B3979203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A0CD0628-BE93-4E93-89A1-049CA0385C47}"/>
              </a:ext>
            </a:extLst>
          </p:cNvPr>
          <p:cNvGrpSpPr/>
          <p:nvPr/>
        </p:nvGrpSpPr>
        <p:grpSpPr>
          <a:xfrm>
            <a:off x="0" y="0"/>
            <a:ext cx="12192000" cy="6858000"/>
            <a:chOff x="0" y="0"/>
            <a:chExt cx="12192000" cy="6858000"/>
          </a:xfrm>
        </p:grpSpPr>
        <p:pic>
          <p:nvPicPr>
            <p:cNvPr id="12" name="Picture 11">
              <a:extLst>
                <a:ext uri="{FF2B5EF4-FFF2-40B4-BE49-F238E27FC236}">
                  <a16:creationId xmlns:a16="http://schemas.microsoft.com/office/drawing/2014/main" id="{BCF390EA-F541-42AC-A191-9D66726DD8A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11" name="Picture 10" descr="Background pattern&#10;&#10;Description automatically generated">
              <a:extLst>
                <a:ext uri="{FF2B5EF4-FFF2-40B4-BE49-F238E27FC236}">
                  <a16:creationId xmlns:a16="http://schemas.microsoft.com/office/drawing/2014/main" id="{ED9046E5-1194-4C10-B843-3F7C0E36AC5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sp>
        <p:nvSpPr>
          <p:cNvPr id="19" name="Rectángulo 6175">
            <a:extLst>
              <a:ext uri="{FF2B5EF4-FFF2-40B4-BE49-F238E27FC236}">
                <a16:creationId xmlns:a16="http://schemas.microsoft.com/office/drawing/2014/main" id="{EFE57DC7-03CB-4F7C-BE5A-FBAC21B16E13}"/>
              </a:ext>
            </a:extLst>
          </p:cNvPr>
          <p:cNvSpPr/>
          <p:nvPr/>
        </p:nvSpPr>
        <p:spPr>
          <a:xfrm>
            <a:off x="0" y="4470400"/>
            <a:ext cx="12214702" cy="23876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任意多边形: 形状 16">
            <a:extLst>
              <a:ext uri="{FF2B5EF4-FFF2-40B4-BE49-F238E27FC236}">
                <a16:creationId xmlns:a16="http://schemas.microsoft.com/office/drawing/2014/main" id="{31A823D7-1B88-4F38-BE76-926B73DB954B}"/>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0DD2B3B6-D900-41C8-AFBB-0AC979BBC4E2}"/>
              </a:ext>
            </a:extLst>
          </p:cNvPr>
          <p:cNvSpPr/>
          <p:nvPr/>
        </p:nvSpPr>
        <p:spPr>
          <a:xfrm>
            <a:off x="9464634"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497BB768-0467-477F-8D3E-28FA30DF6F09}"/>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3DF5C2D4-9F4F-49E8-A23F-5F779843B437}"/>
              </a:ext>
            </a:extLst>
          </p:cNvPr>
          <p:cNvSpPr>
            <a:spLocks noGrp="1"/>
          </p:cNvSpPr>
          <p:nvPr>
            <p:ph type="subTitle" idx="1"/>
          </p:nvPr>
        </p:nvSpPr>
        <p:spPr/>
        <p:txBody>
          <a:bodyPr/>
          <a:lstStyle/>
          <a:p>
            <a:endParaRPr lang="en-US"/>
          </a:p>
        </p:txBody>
      </p:sp>
      <p:sp>
        <p:nvSpPr>
          <p:cNvPr id="13" name="Rectángulo redondeado 14">
            <a:extLst>
              <a:ext uri="{FF2B5EF4-FFF2-40B4-BE49-F238E27FC236}">
                <a16:creationId xmlns:a16="http://schemas.microsoft.com/office/drawing/2014/main" id="{24A43240-638F-4F66-B4D2-15C86DC2B919}"/>
              </a:ext>
            </a:extLst>
          </p:cNvPr>
          <p:cNvSpPr/>
          <p:nvPr/>
        </p:nvSpPr>
        <p:spPr>
          <a:xfrm>
            <a:off x="834056" y="1089635"/>
            <a:ext cx="10523889" cy="4168165"/>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ángulo redondeado 14">
            <a:extLst>
              <a:ext uri="{FF2B5EF4-FFF2-40B4-BE49-F238E27FC236}">
                <a16:creationId xmlns:a16="http://schemas.microsoft.com/office/drawing/2014/main" id="{30E317FD-66E5-4066-8B29-53DBDAD808F0}"/>
              </a:ext>
            </a:extLst>
          </p:cNvPr>
          <p:cNvSpPr/>
          <p:nvPr/>
        </p:nvSpPr>
        <p:spPr>
          <a:xfrm>
            <a:off x="1038078" y="2082799"/>
            <a:ext cx="6536336" cy="2580721"/>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389C8210-EFD0-48DE-819A-E9D8215C46A7}"/>
              </a:ext>
            </a:extLst>
          </p:cNvPr>
          <p:cNvCxnSpPr>
            <a:cxnSpLocks/>
          </p:cNvCxnSpPr>
          <p:nvPr/>
        </p:nvCxnSpPr>
        <p:spPr>
          <a:xfrm>
            <a:off x="2742954" y="6035777"/>
            <a:ext cx="9471748"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27" name="Rectángulo redondeado 14">
            <a:extLst>
              <a:ext uri="{FF2B5EF4-FFF2-40B4-BE49-F238E27FC236}">
                <a16:creationId xmlns:a16="http://schemas.microsoft.com/office/drawing/2014/main" id="{FBD9C24B-6744-4A4B-A4D7-1374C86506BC}"/>
              </a:ext>
            </a:extLst>
          </p:cNvPr>
          <p:cNvSpPr/>
          <p:nvPr/>
        </p:nvSpPr>
        <p:spPr>
          <a:xfrm>
            <a:off x="1186516" y="26058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ángulo 12">
            <a:extLst>
              <a:ext uri="{FF2B5EF4-FFF2-40B4-BE49-F238E27FC236}">
                <a16:creationId xmlns:a16="http://schemas.microsoft.com/office/drawing/2014/main" id="{2196B0D9-D472-45E7-B1FD-7389D45039D1}"/>
              </a:ext>
            </a:extLst>
          </p:cNvPr>
          <p:cNvSpPr/>
          <p:nvPr/>
        </p:nvSpPr>
        <p:spPr>
          <a:xfrm>
            <a:off x="1650825" y="2395044"/>
            <a:ext cx="5465605" cy="1754326"/>
          </a:xfrm>
          <a:prstGeom prst="rect">
            <a:avLst/>
          </a:prstGeom>
        </p:spPr>
        <p:txBody>
          <a:bodyPr wrap="square" lIns="0" rIns="0" anchor="b" anchorCtr="0">
            <a:spAutoFit/>
          </a:bodyPr>
          <a:lstStyle/>
          <a:p>
            <a:r>
              <a:rPr lang="en-US" sz="5400" b="1">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rPr>
              <a:t>Integration</a:t>
            </a:r>
          </a:p>
          <a:p>
            <a:r>
              <a:rPr lang="en-US" sz="5400" b="1">
                <a:solidFill>
                  <a:srgbClr val="D01012"/>
                </a:solidFill>
                <a:latin typeface="Segoe UI" panose="020B0502040204020203" pitchFamily="34" charset="0"/>
                <a:ea typeface="Source Sans Pro Semibold" panose="020B0603030403020204" pitchFamily="34" charset="0"/>
                <a:cs typeface="Segoe UI" panose="020B0502040204020203" pitchFamily="34" charset="0"/>
              </a:rPr>
              <a:t>Overkill</a:t>
            </a:r>
            <a:endParaRPr lang="en-US" sz="5400" b="1">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cxnSp>
        <p:nvCxnSpPr>
          <p:cNvPr id="34" name="Straight Connector 33">
            <a:extLst>
              <a:ext uri="{FF2B5EF4-FFF2-40B4-BE49-F238E27FC236}">
                <a16:creationId xmlns:a16="http://schemas.microsoft.com/office/drawing/2014/main" id="{A92C83EC-88F0-42DB-9670-6156FBFAFE95}"/>
              </a:ext>
            </a:extLst>
          </p:cNvPr>
          <p:cNvCxnSpPr/>
          <p:nvPr/>
        </p:nvCxnSpPr>
        <p:spPr>
          <a:xfrm>
            <a:off x="1587500" y="2082800"/>
            <a:ext cx="9080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124" name="Picture 4">
            <a:extLst>
              <a:ext uri="{FF2B5EF4-FFF2-40B4-BE49-F238E27FC236}">
                <a16:creationId xmlns:a16="http://schemas.microsoft.com/office/drawing/2014/main" id="{555B807A-A283-199B-9E9E-83DA39A7D8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8269" y="1899973"/>
            <a:ext cx="2742955" cy="31659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toy figure with a black mask and a black helmet&#10;&#10;Description automatically generated with medium confidence">
            <a:extLst>
              <a:ext uri="{FF2B5EF4-FFF2-40B4-BE49-F238E27FC236}">
                <a16:creationId xmlns:a16="http://schemas.microsoft.com/office/drawing/2014/main" id="{9FBB808E-D773-4B35-38D2-FA49BA55E56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81253" y="693299"/>
            <a:ext cx="2127942" cy="5019888"/>
          </a:xfrm>
          <a:prstGeom prst="rect">
            <a:avLst/>
          </a:prstGeom>
        </p:spPr>
      </p:pic>
      <p:pic>
        <p:nvPicPr>
          <p:cNvPr id="10" name="Picture 9" descr="A blue toy with a yellow face&#10;&#10;Description automatically generated">
            <a:extLst>
              <a:ext uri="{FF2B5EF4-FFF2-40B4-BE49-F238E27FC236}">
                <a16:creationId xmlns:a16="http://schemas.microsoft.com/office/drawing/2014/main" id="{55C09304-8051-580C-D438-EA435B1E695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88431" y="689603"/>
            <a:ext cx="2330185" cy="5478793"/>
          </a:xfrm>
          <a:prstGeom prst="rect">
            <a:avLst/>
          </a:prstGeom>
        </p:spPr>
      </p:pic>
      <p:pic>
        <p:nvPicPr>
          <p:cNvPr id="17" name="Picture 16" descr="A white robot with a black background&#10;&#10;Description automatically generated">
            <a:extLst>
              <a:ext uri="{FF2B5EF4-FFF2-40B4-BE49-F238E27FC236}">
                <a16:creationId xmlns:a16="http://schemas.microsoft.com/office/drawing/2014/main" id="{745CC2B0-50A3-05B8-BD25-52813BC463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06224" y="2399929"/>
            <a:ext cx="3826722" cy="3826722"/>
          </a:xfrm>
          <a:prstGeom prst="rect">
            <a:avLst/>
          </a:prstGeom>
        </p:spPr>
      </p:pic>
      <p:pic>
        <p:nvPicPr>
          <p:cNvPr id="22" name="Picture 21" descr="A logo on a black background&#10;&#10;Description automatically generated">
            <a:extLst>
              <a:ext uri="{FF2B5EF4-FFF2-40B4-BE49-F238E27FC236}">
                <a16:creationId xmlns:a16="http://schemas.microsoft.com/office/drawing/2014/main" id="{4CDF2C6D-3CC7-59E6-6659-3A6B6FF69036}"/>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9714"/>
          <a:stretch/>
        </p:blipFill>
        <p:spPr>
          <a:xfrm>
            <a:off x="1120625" y="271278"/>
            <a:ext cx="5069888" cy="1490492"/>
          </a:xfrm>
          <a:prstGeom prst="rect">
            <a:avLst/>
          </a:prstGeom>
        </p:spPr>
      </p:pic>
      <p:pic>
        <p:nvPicPr>
          <p:cNvPr id="15" name="Picture 14">
            <a:extLst>
              <a:ext uri="{FF2B5EF4-FFF2-40B4-BE49-F238E27FC236}">
                <a16:creationId xmlns:a16="http://schemas.microsoft.com/office/drawing/2014/main" id="{5FCB3476-0616-6DCE-9513-A3C9D276546C}"/>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2763566" y="423372"/>
            <a:ext cx="878993" cy="878993"/>
          </a:xfrm>
          <a:prstGeom prst="rect">
            <a:avLst/>
          </a:prstGeom>
        </p:spPr>
      </p:pic>
      <p:sp>
        <p:nvSpPr>
          <p:cNvPr id="4" name="Title 1">
            <a:extLst>
              <a:ext uri="{FF2B5EF4-FFF2-40B4-BE49-F238E27FC236}">
                <a16:creationId xmlns:a16="http://schemas.microsoft.com/office/drawing/2014/main" id="{1DD9287E-8EED-D809-5B1D-D6B617DAB7C3}"/>
              </a:ext>
            </a:extLst>
          </p:cNvPr>
          <p:cNvSpPr txBox="1">
            <a:spLocks/>
          </p:cNvSpPr>
          <p:nvPr/>
        </p:nvSpPr>
        <p:spPr>
          <a:xfrm>
            <a:off x="1414515" y="5393629"/>
            <a:ext cx="5501148" cy="1040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a:solidFill>
                  <a:schemeClr val="bg1"/>
                </a:solidFill>
                <a:latin typeface="Segoe UI" panose="020B0502040204020203" pitchFamily="34" charset="0"/>
                <a:cs typeface="Segoe UI" panose="020B0502040204020203" pitchFamily="34" charset="0"/>
              </a:rPr>
              <a:t>Nathan Clouse and Beau Schwieso</a:t>
            </a:r>
          </a:p>
        </p:txBody>
      </p:sp>
    </p:spTree>
    <p:extLst>
      <p:ext uri="{BB962C8B-B14F-4D97-AF65-F5344CB8AC3E}">
        <p14:creationId xmlns:p14="http://schemas.microsoft.com/office/powerpoint/2010/main" val="2972571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6EE07-86DC-178C-374C-184E65708BC6}"/>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1449C9F5-A55E-12C5-A5E3-EC4C9220AC7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3541E9A9-5E33-DDFC-996B-1355A0D7A06C}"/>
              </a:ext>
            </a:extLst>
          </p:cNvPr>
          <p:cNvSpPr>
            <a:spLocks noGrp="1"/>
          </p:cNvSpPr>
          <p:nvPr>
            <p:ph type="sldNum" sz="quarter" idx="12"/>
          </p:nvPr>
        </p:nvSpPr>
        <p:spPr/>
        <p:txBody>
          <a:bodyPr/>
          <a:lstStyle/>
          <a:p>
            <a:fld id="{8D05A9CD-9176-4D89-A414-3BEEE81BBC77}" type="slidenum">
              <a:rPr lang="en-US" smtClean="0"/>
              <a:pPr/>
              <a:t>10</a:t>
            </a:fld>
            <a:endParaRPr lang="en-US"/>
          </a:p>
        </p:txBody>
      </p:sp>
      <p:sp>
        <p:nvSpPr>
          <p:cNvPr id="16" name="Rectángulo redondeado 14">
            <a:extLst>
              <a:ext uri="{FF2B5EF4-FFF2-40B4-BE49-F238E27FC236}">
                <a16:creationId xmlns:a16="http://schemas.microsoft.com/office/drawing/2014/main" id="{1755EC05-00C6-1CEE-485D-E89EC2F83E97}"/>
              </a:ext>
            </a:extLst>
          </p:cNvPr>
          <p:cNvSpPr/>
          <p:nvPr/>
        </p:nvSpPr>
        <p:spPr>
          <a:xfrm>
            <a:off x="1501351" y="2698927"/>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30339A58-71B6-01B0-55EE-3081374DBBCC}"/>
              </a:ext>
            </a:extLst>
          </p:cNvPr>
          <p:cNvSpPr/>
          <p:nvPr/>
        </p:nvSpPr>
        <p:spPr>
          <a:xfrm>
            <a:off x="1970761" y="2879644"/>
            <a:ext cx="8719887" cy="769441"/>
          </a:xfrm>
          <a:prstGeom prst="rect">
            <a:avLst/>
          </a:prstGeom>
        </p:spPr>
        <p:txBody>
          <a:bodyPr wrap="square" lIns="0" rIns="0" anchor="b" anchorCtr="0">
            <a:spAutoFit/>
          </a:bodyPr>
          <a:lstStyle/>
          <a:p>
            <a:pPr algn="ctr"/>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But what’s the difference? </a:t>
            </a:r>
          </a:p>
        </p:txBody>
      </p:sp>
      <p:pic>
        <p:nvPicPr>
          <p:cNvPr id="2" name="Content Placeholder 11" descr="A logo with a black background">
            <a:extLst>
              <a:ext uri="{FF2B5EF4-FFF2-40B4-BE49-F238E27FC236}">
                <a16:creationId xmlns:a16="http://schemas.microsoft.com/office/drawing/2014/main" id="{A312A86D-3105-E199-6102-CB99EBC72E72}"/>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3" name="Picture 2">
            <a:extLst>
              <a:ext uri="{FF2B5EF4-FFF2-40B4-BE49-F238E27FC236}">
                <a16:creationId xmlns:a16="http://schemas.microsoft.com/office/drawing/2014/main" id="{C6CA86FB-4A96-1A3D-EB80-F6166FACBFEE}"/>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716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77BE4-F050-CBCF-2D31-6985132D3C6C}"/>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E94B92C9-CDB3-826F-FFEE-FDFB1874193E}"/>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B0024BAB-0B98-1857-B080-139F8D0B7752}"/>
              </a:ext>
            </a:extLst>
          </p:cNvPr>
          <p:cNvSpPr>
            <a:spLocks noGrp="1"/>
          </p:cNvSpPr>
          <p:nvPr>
            <p:ph idx="1"/>
          </p:nvPr>
        </p:nvSpPr>
        <p:spPr/>
        <p:txBody>
          <a:bodyPr/>
          <a:lstStyle/>
          <a:p>
            <a:r>
              <a:rPr lang="en-GB" b="1"/>
              <a:t>Data Events</a:t>
            </a:r>
          </a:p>
          <a:p>
            <a:pPr lvl="1"/>
            <a:r>
              <a:rPr lang="en-GB"/>
              <a:t>Regularly monitor integration endpoints to ensure timely data handling.</a:t>
            </a:r>
          </a:p>
          <a:p>
            <a:pPr lvl="1"/>
            <a:r>
              <a:rPr lang="en-GB"/>
              <a:t>Optimize data structures and filters to avoid unnecessary data loads.</a:t>
            </a:r>
          </a:p>
          <a:p>
            <a:pPr lvl="1"/>
            <a:r>
              <a:rPr lang="en-GB"/>
              <a:t>Use asynchronous processing wherever possible to enhance system responsiveness.</a:t>
            </a:r>
          </a:p>
          <a:p>
            <a:r>
              <a:rPr lang="en-GB" b="1"/>
              <a:t>Business Events</a:t>
            </a:r>
          </a:p>
          <a:p>
            <a:pPr lvl="1"/>
            <a:r>
              <a:rPr lang="en-GB"/>
              <a:t>Clearly define business rules and conditions to trigger events accurately.</a:t>
            </a:r>
          </a:p>
          <a:p>
            <a:pPr lvl="1"/>
            <a:r>
              <a:rPr lang="en-GB"/>
              <a:t>Maintain version control and update documentation to manage changes in business logic.</a:t>
            </a:r>
          </a:p>
          <a:p>
            <a:pPr lvl="1"/>
            <a:r>
              <a:rPr lang="en-GB"/>
              <a:t>Implement robust error handling and retry mechanisms for critical integrations.</a:t>
            </a:r>
          </a:p>
        </p:txBody>
      </p:sp>
      <p:sp>
        <p:nvSpPr>
          <p:cNvPr id="4" name="Slide Number Placeholder 3">
            <a:extLst>
              <a:ext uri="{FF2B5EF4-FFF2-40B4-BE49-F238E27FC236}">
                <a16:creationId xmlns:a16="http://schemas.microsoft.com/office/drawing/2014/main" id="{4B9B8C69-EDBC-B981-B343-42A9EE751815}"/>
              </a:ext>
            </a:extLst>
          </p:cNvPr>
          <p:cNvSpPr>
            <a:spLocks noGrp="1"/>
          </p:cNvSpPr>
          <p:nvPr>
            <p:ph type="sldNum" sz="quarter" idx="12"/>
          </p:nvPr>
        </p:nvSpPr>
        <p:spPr/>
        <p:txBody>
          <a:bodyPr/>
          <a:lstStyle/>
          <a:p>
            <a:fld id="{8D05A9CD-9176-4D89-A414-3BEEE81BBC77}" type="slidenum">
              <a:rPr lang="en-US" smtClean="0"/>
              <a:pPr/>
              <a:t>11</a:t>
            </a:fld>
            <a:endParaRPr lang="en-US"/>
          </a:p>
        </p:txBody>
      </p:sp>
      <p:sp>
        <p:nvSpPr>
          <p:cNvPr id="16" name="Rectángulo redondeado 14">
            <a:extLst>
              <a:ext uri="{FF2B5EF4-FFF2-40B4-BE49-F238E27FC236}">
                <a16:creationId xmlns:a16="http://schemas.microsoft.com/office/drawing/2014/main" id="{285E75E7-E451-7080-409C-844793FF5F91}"/>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2531F3BB-118F-7C6C-AE0D-5EBB1A611AE8}"/>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E vs BE – Best Practices</a:t>
            </a:r>
          </a:p>
        </p:txBody>
      </p:sp>
      <p:pic>
        <p:nvPicPr>
          <p:cNvPr id="2" name="Content Placeholder 11" descr="A logo with a black background">
            <a:extLst>
              <a:ext uri="{FF2B5EF4-FFF2-40B4-BE49-F238E27FC236}">
                <a16:creationId xmlns:a16="http://schemas.microsoft.com/office/drawing/2014/main" id="{6AA82634-0F46-238F-C805-AEF295FA5F4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2">
            <a:extLst>
              <a:ext uri="{FF2B5EF4-FFF2-40B4-BE49-F238E27FC236}">
                <a16:creationId xmlns:a16="http://schemas.microsoft.com/office/drawing/2014/main" id="{0D81C83E-7B06-540E-FC30-E53C6C7477CD}"/>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5350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D210C-4706-0F37-6FB0-D9DB83A0B3A3}"/>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DCD05C1D-0748-848F-2CC0-8AB037732DF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7B35E699-560B-81AE-022D-29D4F17897FC}"/>
              </a:ext>
            </a:extLst>
          </p:cNvPr>
          <p:cNvSpPr>
            <a:spLocks noGrp="1"/>
          </p:cNvSpPr>
          <p:nvPr>
            <p:ph idx="1"/>
          </p:nvPr>
        </p:nvSpPr>
        <p:spPr/>
        <p:txBody>
          <a:bodyPr>
            <a:normAutofit/>
          </a:bodyPr>
          <a:lstStyle/>
          <a:p>
            <a:r>
              <a:rPr lang="en-GB"/>
              <a:t>Data Events</a:t>
            </a:r>
          </a:p>
          <a:p>
            <a:pPr lvl="1"/>
            <a:r>
              <a:rPr lang="en-US"/>
              <a:t>Best suited for high-volume data integrations where real-time processing is not critical.</a:t>
            </a:r>
          </a:p>
          <a:p>
            <a:pPr lvl="1"/>
            <a:r>
              <a:rPr lang="en-US"/>
              <a:t>Potential impact on performance when dealing with large datasets; batching and timing of data synchronization is crucial.</a:t>
            </a:r>
            <a:endParaRPr lang="en-GB"/>
          </a:p>
          <a:p>
            <a:r>
              <a:rPr lang="en-GB"/>
              <a:t>Business Events</a:t>
            </a:r>
          </a:p>
          <a:p>
            <a:pPr lvl="1"/>
            <a:r>
              <a:rPr lang="en-US"/>
              <a:t>Ideal for operations where immediate system response is required based on business conditions.</a:t>
            </a:r>
          </a:p>
          <a:p>
            <a:pPr lvl="1"/>
            <a:r>
              <a:rPr lang="en-US"/>
              <a:t>Requires careful management to prevent overloading the system with frequent, concurrent business event triggers.</a:t>
            </a:r>
          </a:p>
          <a:p>
            <a:pPr lvl="1"/>
            <a:endParaRPr lang="en-GB"/>
          </a:p>
        </p:txBody>
      </p:sp>
      <p:sp>
        <p:nvSpPr>
          <p:cNvPr id="4" name="Slide Number Placeholder 3">
            <a:extLst>
              <a:ext uri="{FF2B5EF4-FFF2-40B4-BE49-F238E27FC236}">
                <a16:creationId xmlns:a16="http://schemas.microsoft.com/office/drawing/2014/main" id="{0EBFB284-CD1C-6A82-DB53-457E824CE7D5}"/>
              </a:ext>
            </a:extLst>
          </p:cNvPr>
          <p:cNvSpPr>
            <a:spLocks noGrp="1"/>
          </p:cNvSpPr>
          <p:nvPr>
            <p:ph type="sldNum" sz="quarter" idx="12"/>
          </p:nvPr>
        </p:nvSpPr>
        <p:spPr/>
        <p:txBody>
          <a:bodyPr/>
          <a:lstStyle/>
          <a:p>
            <a:fld id="{8D05A9CD-9176-4D89-A414-3BEEE81BBC77}" type="slidenum">
              <a:rPr lang="en-US" smtClean="0"/>
              <a:pPr/>
              <a:t>12</a:t>
            </a:fld>
            <a:endParaRPr lang="en-US"/>
          </a:p>
        </p:txBody>
      </p:sp>
      <p:sp>
        <p:nvSpPr>
          <p:cNvPr id="16" name="Rectángulo redondeado 14">
            <a:extLst>
              <a:ext uri="{FF2B5EF4-FFF2-40B4-BE49-F238E27FC236}">
                <a16:creationId xmlns:a16="http://schemas.microsoft.com/office/drawing/2014/main" id="{BEB772FE-D717-7221-449D-4F0CAE7FCD1D}"/>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B6397FB0-E1E2-4281-E913-352BF5C6951B}"/>
              </a:ext>
            </a:extLst>
          </p:cNvPr>
          <p:cNvSpPr/>
          <p:nvPr/>
        </p:nvSpPr>
        <p:spPr>
          <a:xfrm>
            <a:off x="407963" y="396696"/>
            <a:ext cx="9244037"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E vs BE – Perf Considerations</a:t>
            </a:r>
          </a:p>
        </p:txBody>
      </p:sp>
      <p:pic>
        <p:nvPicPr>
          <p:cNvPr id="2" name="Content Placeholder 11" descr="A logo with a black background">
            <a:extLst>
              <a:ext uri="{FF2B5EF4-FFF2-40B4-BE49-F238E27FC236}">
                <a16:creationId xmlns:a16="http://schemas.microsoft.com/office/drawing/2014/main" id="{895A2048-F597-2AF1-CBC6-FC8DBD7C9F3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2">
            <a:extLst>
              <a:ext uri="{FF2B5EF4-FFF2-40B4-BE49-F238E27FC236}">
                <a16:creationId xmlns:a16="http://schemas.microsoft.com/office/drawing/2014/main" id="{7D051ADD-DFAE-6B9D-87F2-30136AAC8467}"/>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550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56F88-0565-9F9A-6502-200BE66401B9}"/>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16184737-01A5-CE7A-6A9D-C1DB40A25F6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AF35C7F1-3E7B-B58E-6940-96707692A65E}"/>
              </a:ext>
            </a:extLst>
          </p:cNvPr>
          <p:cNvSpPr>
            <a:spLocks noGrp="1"/>
          </p:cNvSpPr>
          <p:nvPr>
            <p:ph idx="1"/>
          </p:nvPr>
        </p:nvSpPr>
        <p:spPr/>
        <p:txBody>
          <a:bodyPr>
            <a:normAutofit/>
          </a:bodyPr>
          <a:lstStyle/>
          <a:p>
            <a:pPr>
              <a:buFont typeface="Arial" panose="020B0604020202020204" pitchFamily="34" charset="0"/>
              <a:buChar char="•"/>
            </a:pPr>
            <a:r>
              <a:rPr lang="en-US" b="1"/>
              <a:t>When to use Data Events</a:t>
            </a:r>
            <a:endParaRPr lang="en-US"/>
          </a:p>
          <a:p>
            <a:pPr marL="742950" lvl="1" indent="-285750">
              <a:buFont typeface="Arial" panose="020B0604020202020204" pitchFamily="34" charset="0"/>
              <a:buChar char="•"/>
            </a:pPr>
            <a:r>
              <a:rPr lang="en-US"/>
              <a:t>Use when data changes need to be captured systematically without immediate action on the system’s operations.</a:t>
            </a:r>
          </a:p>
          <a:p>
            <a:pPr marL="742950" lvl="1" indent="-285750">
              <a:buFont typeface="Arial" panose="020B0604020202020204" pitchFamily="34" charset="0"/>
              <a:buChar char="•"/>
            </a:pPr>
            <a:r>
              <a:rPr lang="en-US"/>
              <a:t>Suitable for background data syncing, logging, and integration with external systems that do not require instant updates.</a:t>
            </a:r>
          </a:p>
          <a:p>
            <a:pPr>
              <a:buFont typeface="Arial" panose="020B0604020202020204" pitchFamily="34" charset="0"/>
              <a:buChar char="•"/>
            </a:pPr>
            <a:r>
              <a:rPr lang="en-US" b="1"/>
              <a:t>When to use Business Events</a:t>
            </a:r>
            <a:endParaRPr lang="en-US"/>
          </a:p>
          <a:p>
            <a:pPr marL="742950" lvl="1" indent="-285750">
              <a:buFont typeface="Arial" panose="020B0604020202020204" pitchFamily="34" charset="0"/>
              <a:buChar char="•"/>
            </a:pPr>
            <a:r>
              <a:rPr lang="en-US"/>
              <a:t>Use when specific business actions require immediate follow-up activities or integrations, such as approvals or workflow transitions.</a:t>
            </a:r>
          </a:p>
          <a:p>
            <a:pPr marL="742950" lvl="1" indent="-285750">
              <a:buFont typeface="Arial" panose="020B0604020202020204" pitchFamily="34" charset="0"/>
              <a:buChar char="•"/>
            </a:pPr>
            <a:r>
              <a:rPr lang="en-US"/>
              <a:t>Essential for operations where business logic dictates immediate system responses to maintain process integrity.</a:t>
            </a:r>
          </a:p>
        </p:txBody>
      </p:sp>
      <p:sp>
        <p:nvSpPr>
          <p:cNvPr id="4" name="Slide Number Placeholder 3">
            <a:extLst>
              <a:ext uri="{FF2B5EF4-FFF2-40B4-BE49-F238E27FC236}">
                <a16:creationId xmlns:a16="http://schemas.microsoft.com/office/drawing/2014/main" id="{BA2539CB-31C2-4583-6BBD-4AAE4F251EB0}"/>
              </a:ext>
            </a:extLst>
          </p:cNvPr>
          <p:cNvSpPr>
            <a:spLocks noGrp="1"/>
          </p:cNvSpPr>
          <p:nvPr>
            <p:ph type="sldNum" sz="quarter" idx="12"/>
          </p:nvPr>
        </p:nvSpPr>
        <p:spPr/>
        <p:txBody>
          <a:bodyPr/>
          <a:lstStyle/>
          <a:p>
            <a:fld id="{8D05A9CD-9176-4D89-A414-3BEEE81BBC77}" type="slidenum">
              <a:rPr lang="en-US" smtClean="0"/>
              <a:pPr/>
              <a:t>13</a:t>
            </a:fld>
            <a:endParaRPr lang="en-US"/>
          </a:p>
        </p:txBody>
      </p:sp>
      <p:sp>
        <p:nvSpPr>
          <p:cNvPr id="16" name="Rectángulo redondeado 14">
            <a:extLst>
              <a:ext uri="{FF2B5EF4-FFF2-40B4-BE49-F238E27FC236}">
                <a16:creationId xmlns:a16="http://schemas.microsoft.com/office/drawing/2014/main" id="{A9BA7204-6175-22F9-3425-8D135ABBD24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AD780CF3-6466-7B08-4F02-CCB6E0C74523}"/>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E vs BE – Decision Factors</a:t>
            </a:r>
          </a:p>
        </p:txBody>
      </p:sp>
      <p:pic>
        <p:nvPicPr>
          <p:cNvPr id="2" name="Content Placeholder 11" descr="A logo with a black background">
            <a:extLst>
              <a:ext uri="{FF2B5EF4-FFF2-40B4-BE49-F238E27FC236}">
                <a16:creationId xmlns:a16="http://schemas.microsoft.com/office/drawing/2014/main" id="{40697EA0-B9F6-1916-F791-BBBE43CABA7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6" name="Picture 2">
            <a:extLst>
              <a:ext uri="{FF2B5EF4-FFF2-40B4-BE49-F238E27FC236}">
                <a16:creationId xmlns:a16="http://schemas.microsoft.com/office/drawing/2014/main" id="{DDB7A35B-5AAE-99D7-E4EF-3B02ED50BA5D}"/>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194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7CFDF-50BF-FF6C-935A-9EB372851FA5}"/>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204DED5-7E30-81EA-C401-AEC58F498D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204DED5-7E30-81EA-C401-AEC58F498D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1F38C92E-9189-C6FA-A8C3-4968D5CC92DB}"/>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4C2D1507-ED21-BA6B-29F5-E784CB1D9F35}"/>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782D7E71-245D-C4B1-94B9-4C87CA9DAF02}"/>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A7C7D8A0-9534-4B7F-D243-8BF80A4612BB}"/>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C8094A3D-4FBF-D097-84A1-773965CF1B99}"/>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B88F75A5-F4A9-B9F9-16BE-736151E79535}"/>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2FA5CB54-3BB2-10B4-6310-896585C6E7B1}"/>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BB41B810-2DA2-0F6B-27A4-A2E9B1D07D0B}"/>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CC351F81-9A37-2813-59C1-6CCFC1D72E25}"/>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384D3E8A-43D3-7194-3145-D378C62FF9B0}"/>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939EBA68-AE46-AFD7-69E2-6AB665572381}"/>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DA9223CC-0600-3AA0-F597-0E977369CDC7}"/>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7A97EE99-5706-22AF-F476-973AD33CCC72}"/>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2ACADF9-83B9-C5A2-BED2-F1128AE23E7F}"/>
              </a:ext>
            </a:extLst>
          </p:cNvPr>
          <p:cNvSpPr>
            <a:spLocks noGrp="1"/>
          </p:cNvSpPr>
          <p:nvPr>
            <p:ph type="title"/>
          </p:nvPr>
        </p:nvSpPr>
        <p:spPr>
          <a:xfrm>
            <a:off x="2370973" y="1198408"/>
            <a:ext cx="4303725" cy="741568"/>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Virtual Entities</a:t>
            </a:r>
          </a:p>
        </p:txBody>
      </p:sp>
      <p:sp>
        <p:nvSpPr>
          <p:cNvPr id="13" name="Rectangle 12">
            <a:extLst>
              <a:ext uri="{FF2B5EF4-FFF2-40B4-BE49-F238E27FC236}">
                <a16:creationId xmlns:a16="http://schemas.microsoft.com/office/drawing/2014/main" id="{DE4FE36E-D4DE-FA35-2CB5-532D2CDBB9BE}"/>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D1BA201-B270-CF14-1DFA-F3D2CB324559}"/>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6CF28680-55AC-5A85-3334-A4389E61CF01}"/>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4</a:t>
            </a:fld>
            <a:endParaRPr lang="en-US"/>
          </a:p>
        </p:txBody>
      </p:sp>
      <p:pic>
        <p:nvPicPr>
          <p:cNvPr id="53" name="Picture 52" descr="Background pattern&#10;&#10;Description automatically generated">
            <a:extLst>
              <a:ext uri="{FF2B5EF4-FFF2-40B4-BE49-F238E27FC236}">
                <a16:creationId xmlns:a16="http://schemas.microsoft.com/office/drawing/2014/main" id="{E1BCEF5D-A901-FAD9-0164-E6D227134C4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94B29B0C-3263-FFE0-95A9-970CA13B159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18D66187-011C-3724-2E67-0FE7B8385F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C442A77A-546F-9746-FF23-021E534FE413}"/>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59017E78-A251-21F0-0FBF-299FF65B3684}"/>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7A13477E-8A83-0D3E-6739-8CF8E13A1909}"/>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FF15D7F0-4A35-0E93-83FC-DBD20C94E9B8}"/>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4E2CCF94-94B8-FA5E-194D-B2DEB10F4E82}"/>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F9737085-AA9C-5584-7E70-B143753D6E4F}"/>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C99FD794-BB71-B4E9-89C3-5F525337C02B}"/>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964AEF69-9824-35CA-4EF6-0BA4A9ED451B}"/>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4EC197D1-3224-8CFB-6DBD-B2CA2D621804}"/>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96076DB0-A70F-014C-CA3D-789EB1F35E43}"/>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8B31BE0E-A969-98C0-9DAD-488B52155F6C}"/>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110D595A-73FE-AE0B-7BE8-6B7262976C24}"/>
              </a:ext>
            </a:extLst>
          </p:cNvPr>
          <p:cNvSpPr txBox="1">
            <a:spLocks/>
          </p:cNvSpPr>
          <p:nvPr/>
        </p:nvSpPr>
        <p:spPr>
          <a:xfrm>
            <a:off x="1088323" y="1971433"/>
            <a:ext cx="5447562" cy="353254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F&amp;O apps are a virtual data source in Dataverse, and enable full create, read, update, and delete (CRUD) operations from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r>
              <a:rPr lang="en-US" sz="2400" b="1" i="1">
                <a:solidFill>
                  <a:schemeClr val="tx1">
                    <a:lumMod val="75000"/>
                    <a:lumOff val="25000"/>
                  </a:schemeClr>
                </a:solidFill>
                <a:latin typeface="Segoe UI" panose="020B0502040204020203" pitchFamily="34" charset="0"/>
                <a:cs typeface="Segoe UI" panose="020B0502040204020203" pitchFamily="34" charset="0"/>
              </a:rPr>
              <a:t>Tip: </a:t>
            </a:r>
            <a:r>
              <a:rPr lang="en-US" sz="2400" i="1">
                <a:solidFill>
                  <a:schemeClr val="tx1">
                    <a:lumMod val="75000"/>
                    <a:lumOff val="25000"/>
                  </a:schemeClr>
                </a:solidFill>
                <a:latin typeface="Segoe UI" panose="020B0502040204020203" pitchFamily="34" charset="0"/>
                <a:cs typeface="Segoe UI" panose="020B0502040204020203" pitchFamily="34" charset="0"/>
              </a:rPr>
              <a:t>All Open Data Protocol (OData) entities in finance and operations apps are available as virtual entities in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Picture 4" descr="A blue and blue lego&#10;&#10;Description automatically generated">
            <a:extLst>
              <a:ext uri="{FF2B5EF4-FFF2-40B4-BE49-F238E27FC236}">
                <a16:creationId xmlns:a16="http://schemas.microsoft.com/office/drawing/2014/main" id="{9D95BAF6-B2B8-443E-FB66-691883E515DE}"/>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7129829" y="1051088"/>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43E8A0C7-0576-289F-C8EC-B5C4C1FE6C8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4" name="Picture 2">
            <a:extLst>
              <a:ext uri="{FF2B5EF4-FFF2-40B4-BE49-F238E27FC236}">
                <a16:creationId xmlns:a16="http://schemas.microsoft.com/office/drawing/2014/main" id="{89C0C09C-F527-C9CC-1B15-26231905D00B}"/>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139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1D825C6-E5BD-6721-78CF-986466DABA6B}"/>
              </a:ext>
            </a:extLst>
          </p:cNvPr>
          <p:cNvSpPr>
            <a:spLocks noGrp="1"/>
          </p:cNvSpPr>
          <p:nvPr>
            <p:ph type="title"/>
          </p:nvPr>
        </p:nvSpPr>
        <p:spPr/>
        <p:txBody>
          <a:bodyPr/>
          <a:lstStyle/>
          <a:p>
            <a:r>
              <a:rPr lang="en-US"/>
              <a:t>Virtual Entities Diagram</a:t>
            </a:r>
          </a:p>
        </p:txBody>
      </p:sp>
      <p:sp>
        <p:nvSpPr>
          <p:cNvPr id="3" name="Footer Placeholder 2">
            <a:extLst>
              <a:ext uri="{FF2B5EF4-FFF2-40B4-BE49-F238E27FC236}">
                <a16:creationId xmlns:a16="http://schemas.microsoft.com/office/drawing/2014/main" id="{A72F219A-7357-0276-1DAF-2A3857DC7F55}"/>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91A3CA8-5A42-A956-ECF6-7E5E4FFC805F}"/>
              </a:ext>
            </a:extLst>
          </p:cNvPr>
          <p:cNvSpPr>
            <a:spLocks noGrp="1"/>
          </p:cNvSpPr>
          <p:nvPr>
            <p:ph type="sldNum" sz="quarter" idx="4294967295"/>
          </p:nvPr>
        </p:nvSpPr>
        <p:spPr>
          <a:xfrm>
            <a:off x="11307763" y="6391039"/>
            <a:ext cx="381000" cy="202084"/>
          </a:xfrm>
        </p:spPr>
        <p:txBody>
          <a:bodyPr/>
          <a:lstStyle/>
          <a:p>
            <a:fld id="{7B599B52-27C3-4436-AA39-9CC12F310512}" type="slidenum">
              <a:rPr lang="en-US" smtClean="0"/>
              <a:pPr/>
              <a:t>15</a:t>
            </a:fld>
            <a:endParaRPr lang="en-US"/>
          </a:p>
        </p:txBody>
      </p:sp>
      <p:pic>
        <p:nvPicPr>
          <p:cNvPr id="1026" name="Picture 2">
            <a:extLst>
              <a:ext uri="{FF2B5EF4-FFF2-40B4-BE49-F238E27FC236}">
                <a16:creationId xmlns:a16="http://schemas.microsoft.com/office/drawing/2014/main" id="{32A6C380-34B1-11AC-AA85-A41A774DC779}"/>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242197" y="45896"/>
            <a:ext cx="11065566" cy="676620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EE2C6426-882F-7CC5-7E13-ED98B805F3E8}"/>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1418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422F4-1E4D-A295-EBA2-BD99D67111AB}"/>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71AAE0-372E-A6D5-DDC6-33FEA60DF8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9571AAE0-372E-A6D5-DDC6-33FEA60DF8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1D9B7308-FAC2-15EB-98A1-E00F775EFE2C}"/>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F089F81B-517B-C055-F910-67776A2D9611}"/>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808E5864-D3D3-0BF3-C2AA-F06E8788E5BF}"/>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19D3FD4B-3EE4-5266-674C-0FA07CDB1784}"/>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D85803C1-287C-4FD8-A9F5-15B70E87EBE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17665EAE-154F-6DD8-1426-65648333E160}"/>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381B4DFD-579C-6235-1E82-CD9CF9E203BE}"/>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4CE1A1B6-38F2-116A-4822-973982B60626}"/>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A9955DCB-6947-F30F-5B10-3D63EF95AED6}"/>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206AE7D9-EA58-F46D-C291-390B219DDE9A}"/>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DF8E6EDD-85FD-8C14-FDD0-42448B3414A6}"/>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C1B5D590-6DA5-E4F0-6E24-C6B718A4B87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AD0A0655-4171-8003-5E8C-7EB67400ABF9}"/>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3DDFE53-745B-1598-4477-AB194F99A31C}"/>
              </a:ext>
            </a:extLst>
          </p:cNvPr>
          <p:cNvSpPr>
            <a:spLocks noGrp="1"/>
          </p:cNvSpPr>
          <p:nvPr>
            <p:ph type="title"/>
          </p:nvPr>
        </p:nvSpPr>
        <p:spPr>
          <a:xfrm>
            <a:off x="2370973" y="1204255"/>
            <a:ext cx="4303725" cy="741568"/>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Dual Write</a:t>
            </a:r>
          </a:p>
        </p:txBody>
      </p:sp>
      <p:sp>
        <p:nvSpPr>
          <p:cNvPr id="13" name="Rectangle 12">
            <a:extLst>
              <a:ext uri="{FF2B5EF4-FFF2-40B4-BE49-F238E27FC236}">
                <a16:creationId xmlns:a16="http://schemas.microsoft.com/office/drawing/2014/main" id="{E86F6580-21B8-B428-7526-63E84826A05A}"/>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EFB41A32-05CD-1FE7-8D9E-1C1437BAE704}"/>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E96A1400-8F0A-23D7-A3D5-6EC0C6B09C8C}"/>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6</a:t>
            </a:fld>
            <a:endParaRPr lang="en-US"/>
          </a:p>
        </p:txBody>
      </p:sp>
      <p:pic>
        <p:nvPicPr>
          <p:cNvPr id="53" name="Picture 52" descr="Background pattern&#10;&#10;Description automatically generated">
            <a:extLst>
              <a:ext uri="{FF2B5EF4-FFF2-40B4-BE49-F238E27FC236}">
                <a16:creationId xmlns:a16="http://schemas.microsoft.com/office/drawing/2014/main" id="{ADA2060B-DBA0-F424-1B0C-7F02084BFA8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BAD483FB-8952-7E43-4AB8-E417370F853C}"/>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8E520707-6514-5C2F-9448-0807D1890A0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1556AD1B-47D9-9534-6EDC-993CEAEF2C58}"/>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D3695142-2DBA-F1FB-120F-FC3EFDDF7B88}"/>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BE2967B9-FE3F-0E69-AB80-5603D98A7991}"/>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43F15E25-182A-C94F-BD02-E65A76D39C4F}"/>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2FD16B5D-18D2-6397-4B9C-3CF67323511F}"/>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A2AEC904-AA5B-1C39-715D-5689829D7353}"/>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16741A67-52D2-4113-728D-922531177411}"/>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79453106-0C1B-88F7-A301-F50FD48A92D8}"/>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1315D361-CA7E-709F-3242-64DE5922BDF6}"/>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132CBA08-82EC-034B-8AF2-203B9EB78C1E}"/>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FD0E5B44-4D25-35BB-03E0-844E6EC48901}"/>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BBB8459E-D1F7-E590-B06C-B6E52BB7E784}"/>
              </a:ext>
            </a:extLst>
          </p:cNvPr>
          <p:cNvSpPr txBox="1">
            <a:spLocks/>
          </p:cNvSpPr>
          <p:nvPr/>
        </p:nvSpPr>
        <p:spPr>
          <a:xfrm>
            <a:off x="1104477" y="2014486"/>
            <a:ext cx="5431408" cy="355517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ual-write is an out-of-box infrastructure that provides near-real-time interaction between customer engagement apps and finance and operations apps.</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ual-write provides </a:t>
            </a:r>
            <a:r>
              <a:rPr lang="en-US" sz="2400" b="1" i="1" u="sng">
                <a:solidFill>
                  <a:schemeClr val="tx1">
                    <a:lumMod val="75000"/>
                    <a:lumOff val="25000"/>
                  </a:schemeClr>
                </a:solidFill>
                <a:latin typeface="Segoe UI" panose="020B0502040204020203" pitchFamily="34" charset="0"/>
                <a:cs typeface="Segoe UI" panose="020B0502040204020203" pitchFamily="34" charset="0"/>
              </a:rPr>
              <a:t>tightly coupled</a:t>
            </a:r>
            <a:r>
              <a:rPr lang="en-US" sz="2400" i="1">
                <a:solidFill>
                  <a:schemeClr val="tx1">
                    <a:lumMod val="75000"/>
                    <a:lumOff val="25000"/>
                  </a:schemeClr>
                </a:solidFill>
                <a:latin typeface="Segoe UI" panose="020B0502040204020203" pitchFamily="34" charset="0"/>
                <a:cs typeface="Segoe UI" panose="020B0502040204020203" pitchFamily="34" charset="0"/>
              </a:rPr>
              <a:t>, bidirectional integration between finance and operations apps and Dataverse</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Picture 4" descr="A blue and blue lego&#10;&#10;Description automatically generated">
            <a:extLst>
              <a:ext uri="{FF2B5EF4-FFF2-40B4-BE49-F238E27FC236}">
                <a16:creationId xmlns:a16="http://schemas.microsoft.com/office/drawing/2014/main" id="{5CF7E3C1-BB83-8B48-ACFA-6787CD22D0EA}"/>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7129829" y="1051088"/>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AABF907F-9514-AB18-BBE2-92739EBD4368}"/>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4" name="Picture 2">
            <a:extLst>
              <a:ext uri="{FF2B5EF4-FFF2-40B4-BE49-F238E27FC236}">
                <a16:creationId xmlns:a16="http://schemas.microsoft.com/office/drawing/2014/main" id="{3B98739D-92FD-BF2F-0591-7E5D5A3EA4EE}"/>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788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D22AD-36D3-49B1-8591-A70F83FA6666}"/>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C75E41E6-C4AC-DEC4-1C7F-AA4FC62BCF2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DD4AF4BA-C3D8-AB1E-9CB2-A47B2788D6CD}"/>
              </a:ext>
            </a:extLst>
          </p:cNvPr>
          <p:cNvSpPr>
            <a:spLocks noGrp="1"/>
          </p:cNvSpPr>
          <p:nvPr>
            <p:ph type="sldNum" sz="quarter" idx="12"/>
          </p:nvPr>
        </p:nvSpPr>
        <p:spPr/>
        <p:txBody>
          <a:bodyPr/>
          <a:lstStyle/>
          <a:p>
            <a:fld id="{8D05A9CD-9176-4D89-A414-3BEEE81BBC77}" type="slidenum">
              <a:rPr lang="en-US" smtClean="0"/>
              <a:pPr/>
              <a:t>17</a:t>
            </a:fld>
            <a:endParaRPr lang="en-US"/>
          </a:p>
        </p:txBody>
      </p:sp>
      <p:sp>
        <p:nvSpPr>
          <p:cNvPr id="16" name="Rectángulo redondeado 14">
            <a:extLst>
              <a:ext uri="{FF2B5EF4-FFF2-40B4-BE49-F238E27FC236}">
                <a16:creationId xmlns:a16="http://schemas.microsoft.com/office/drawing/2014/main" id="{C70E38CD-5988-E6E8-0FC8-62D5869D66A5}"/>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9FC8A3DB-7C62-D1F8-7045-F03C38BDC469}"/>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ual-write</a:t>
            </a:r>
          </a:p>
        </p:txBody>
      </p:sp>
      <p:pic>
        <p:nvPicPr>
          <p:cNvPr id="2" name="Content Placeholder 11" descr="A logo with a black background">
            <a:extLst>
              <a:ext uri="{FF2B5EF4-FFF2-40B4-BE49-F238E27FC236}">
                <a16:creationId xmlns:a16="http://schemas.microsoft.com/office/drawing/2014/main" id="{E81431A4-6F97-AD59-4772-F7860279520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9" name="Picture 8">
            <a:extLst>
              <a:ext uri="{FF2B5EF4-FFF2-40B4-BE49-F238E27FC236}">
                <a16:creationId xmlns:a16="http://schemas.microsoft.com/office/drawing/2014/main" id="{903ADF37-4C1B-CD8A-4187-701B17204190}"/>
              </a:ext>
            </a:extLst>
          </p:cNvPr>
          <p:cNvPicPr>
            <a:picLocks noChangeAspect="1"/>
          </p:cNvPicPr>
          <p:nvPr/>
        </p:nvPicPr>
        <p:blipFill>
          <a:blip r:embed="rId4"/>
          <a:stretch>
            <a:fillRect/>
          </a:stretch>
        </p:blipFill>
        <p:spPr>
          <a:xfrm>
            <a:off x="261138" y="1980454"/>
            <a:ext cx="11366620" cy="4022035"/>
          </a:xfrm>
          <a:prstGeom prst="rect">
            <a:avLst/>
          </a:prstGeom>
        </p:spPr>
      </p:pic>
      <p:pic>
        <p:nvPicPr>
          <p:cNvPr id="3" name="Picture 2">
            <a:extLst>
              <a:ext uri="{FF2B5EF4-FFF2-40B4-BE49-F238E27FC236}">
                <a16:creationId xmlns:a16="http://schemas.microsoft.com/office/drawing/2014/main" id="{3CFBFE7E-9589-4321-B24E-61F36467126A}"/>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0583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D2DA1-66E1-7677-8B2B-60B662339474}"/>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3971141-76D4-CA05-E72F-5C0C4415A032}"/>
              </a:ext>
            </a:extLst>
          </p:cNvPr>
          <p:cNvPicPr>
            <a:picLocks noChangeAspect="1"/>
          </p:cNvPicPr>
          <p:nvPr/>
        </p:nvPicPr>
        <p:blipFill>
          <a:blip r:embed="rId2"/>
          <a:stretch>
            <a:fillRect/>
          </a:stretch>
        </p:blipFill>
        <p:spPr>
          <a:xfrm>
            <a:off x="338036" y="1574774"/>
            <a:ext cx="10987616" cy="4836613"/>
          </a:xfrm>
          <a:prstGeom prst="rect">
            <a:avLst/>
          </a:prstGeom>
        </p:spPr>
      </p:pic>
      <p:pic>
        <p:nvPicPr>
          <p:cNvPr id="19" name="Picture 18" descr="A group of colorful squares&#10;&#10;Description automatically generated">
            <a:extLst>
              <a:ext uri="{FF2B5EF4-FFF2-40B4-BE49-F238E27FC236}">
                <a16:creationId xmlns:a16="http://schemas.microsoft.com/office/drawing/2014/main" id="{2EDA26FC-978F-046C-3EF1-D63D2C3099D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ED1847C8-D6FD-5794-0E48-EFA9807FBDE1}"/>
              </a:ext>
            </a:extLst>
          </p:cNvPr>
          <p:cNvSpPr>
            <a:spLocks noGrp="1"/>
          </p:cNvSpPr>
          <p:nvPr>
            <p:ph type="sldNum" sz="quarter" idx="12"/>
          </p:nvPr>
        </p:nvSpPr>
        <p:spPr/>
        <p:txBody>
          <a:bodyPr/>
          <a:lstStyle/>
          <a:p>
            <a:fld id="{8D05A9CD-9176-4D89-A414-3BEEE81BBC77}" type="slidenum">
              <a:rPr lang="en-US" smtClean="0"/>
              <a:pPr/>
              <a:t>18</a:t>
            </a:fld>
            <a:endParaRPr lang="en-US"/>
          </a:p>
        </p:txBody>
      </p:sp>
      <p:sp>
        <p:nvSpPr>
          <p:cNvPr id="16" name="Rectángulo redondeado 14">
            <a:extLst>
              <a:ext uri="{FF2B5EF4-FFF2-40B4-BE49-F238E27FC236}">
                <a16:creationId xmlns:a16="http://schemas.microsoft.com/office/drawing/2014/main" id="{2DAEA963-3277-C508-2A8A-9EA561FE5495}"/>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A68F7D72-1A54-8E45-755B-659FCDDE3EF6}"/>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ual-write</a:t>
            </a:r>
          </a:p>
        </p:txBody>
      </p:sp>
      <p:pic>
        <p:nvPicPr>
          <p:cNvPr id="2" name="Content Placeholder 11" descr="A logo with a black background">
            <a:extLst>
              <a:ext uri="{FF2B5EF4-FFF2-40B4-BE49-F238E27FC236}">
                <a16:creationId xmlns:a16="http://schemas.microsoft.com/office/drawing/2014/main" id="{EB48D160-0313-EA10-B535-323249D7E39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3" name="Picture 2">
            <a:extLst>
              <a:ext uri="{FF2B5EF4-FFF2-40B4-BE49-F238E27FC236}">
                <a16:creationId xmlns:a16="http://schemas.microsoft.com/office/drawing/2014/main" id="{1D6547E7-A11B-0B7E-B5F0-B3CC0E27317A}"/>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0311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56B50-F552-0D12-84FC-6DD14838E6C5}"/>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DA4F37-8A9E-8662-8F97-579A050BB8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5DA4F37-8A9E-8662-8F97-579A050BB8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4E822225-DB1A-CDBA-C89A-C4601DA9BA7F}"/>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16C18BED-C15A-DB01-8D29-7E05F31CA5AA}"/>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545FCE58-3EEF-4451-7309-358FFC01D255}"/>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6D2BA941-FBAF-AE13-CDBA-EA2361CB2288}"/>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DD1719E-1C14-265B-61EF-8EC3E73A92DB}"/>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768B171C-FC29-33CF-282E-A4F23824B75D}"/>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AC39D6E6-B291-83E2-9F3D-852D741BC001}"/>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94352398-848B-EF3A-BE92-E4F2538F0035}"/>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3087C3F9-14B4-0E8B-410D-6459C371FF58}"/>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FF1FDF59-E9FD-C7F5-FDB0-A154647F39E7}"/>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67F550FC-A080-0D64-87E9-0D9F65D8C116}"/>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D3492902-F714-1974-C9D2-354C898BE9DD}"/>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8EED0CFF-A282-76E3-5051-60C4E9DA8268}"/>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0985611-B857-CAEC-942D-032E093049E0}"/>
              </a:ext>
            </a:extLst>
          </p:cNvPr>
          <p:cNvSpPr>
            <a:spLocks noGrp="1"/>
          </p:cNvSpPr>
          <p:nvPr>
            <p:ph type="title"/>
          </p:nvPr>
        </p:nvSpPr>
        <p:spPr>
          <a:xfrm>
            <a:off x="2310877" y="1202992"/>
            <a:ext cx="4303725" cy="741568"/>
          </a:xfrm>
        </p:spPr>
        <p:txBody>
          <a:bodyPr lIns="0" rIns="0">
            <a:normAutofit/>
          </a:bodyPr>
          <a:lstStyle/>
          <a:p>
            <a:r>
              <a:rPr lang="en-US" b="1">
                <a:solidFill>
                  <a:schemeClr val="tx1">
                    <a:lumMod val="75000"/>
                    <a:lumOff val="25000"/>
                  </a:schemeClr>
                </a:solidFill>
                <a:latin typeface="Segoe UI" panose="020B0502040204020203" pitchFamily="34" charset="0"/>
                <a:cs typeface="Segoe UI" panose="020B0502040204020203" pitchFamily="34" charset="0"/>
              </a:rPr>
              <a:t>Custom Services</a:t>
            </a:r>
          </a:p>
        </p:txBody>
      </p:sp>
      <p:sp>
        <p:nvSpPr>
          <p:cNvPr id="13" name="Rectangle 12">
            <a:extLst>
              <a:ext uri="{FF2B5EF4-FFF2-40B4-BE49-F238E27FC236}">
                <a16:creationId xmlns:a16="http://schemas.microsoft.com/office/drawing/2014/main" id="{FCC37943-FBF8-39EF-676B-3A2490F737D2}"/>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18912EE-F05F-4BCF-DF2F-52E55193AD10}"/>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BA4D4C92-09CC-E647-A801-A3C4D44AE62D}"/>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9</a:t>
            </a:fld>
            <a:endParaRPr lang="en-US"/>
          </a:p>
        </p:txBody>
      </p:sp>
      <p:pic>
        <p:nvPicPr>
          <p:cNvPr id="53" name="Picture 52" descr="Background pattern&#10;&#10;Description automatically generated">
            <a:extLst>
              <a:ext uri="{FF2B5EF4-FFF2-40B4-BE49-F238E27FC236}">
                <a16:creationId xmlns:a16="http://schemas.microsoft.com/office/drawing/2014/main" id="{C55B78B2-6561-B73C-6E4F-24632C76363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D5B336BE-4C4A-20C6-0E09-C6D34D07F991}"/>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C5C01712-E656-FD11-5DC5-446B31DC3673}"/>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25BE402D-3CF3-2B6A-0ED7-0D284DC65E1A}"/>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61E79FD9-9750-E44A-4CEA-711B0C9D2B96}"/>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62D10B96-AA27-2A85-E5C1-1B7CF39826EA}"/>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770A714E-5176-87E9-8CA2-2721DCE926D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3DF2C4B6-FB66-1B34-201C-702084A01D57}"/>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9FDC464A-CEDB-B576-3F04-93B18CF9A7A6}"/>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41259FC7-0846-0BBD-EB00-DFD2D0637C57}"/>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47130D63-D710-F231-B965-E1D0C716948C}"/>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CE8E5106-E78C-294D-595A-F55DD206060C}"/>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04FCF6C8-87FD-95EF-8D2B-E4C77A4E952A}"/>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38F45451-0765-B863-7DBA-E62EA4D21A7D}"/>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5B8E4AE4-57D9-080F-73E0-2F482636255B}"/>
              </a:ext>
            </a:extLst>
          </p:cNvPr>
          <p:cNvSpPr txBox="1">
            <a:spLocks/>
          </p:cNvSpPr>
          <p:nvPr/>
        </p:nvSpPr>
        <p:spPr>
          <a:xfrm>
            <a:off x="940740" y="2029521"/>
            <a:ext cx="5595145" cy="347445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Bespoke solutions developed to meet specific business requirements that standard services or functionalities cannot satisfy. </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These services are particularly valuable when </a:t>
            </a:r>
            <a:r>
              <a:rPr lang="en-US" sz="2400" b="1" i="1" u="sng">
                <a:solidFill>
                  <a:schemeClr val="tx1">
                    <a:lumMod val="75000"/>
                    <a:lumOff val="25000"/>
                  </a:schemeClr>
                </a:solidFill>
                <a:latin typeface="Segoe UI" panose="020B0502040204020203" pitchFamily="34" charset="0"/>
                <a:cs typeface="Segoe UI" panose="020B0502040204020203" pitchFamily="34" charset="0"/>
              </a:rPr>
              <a:t>unique or complex business processes require customization </a:t>
            </a:r>
            <a:r>
              <a:rPr lang="en-US" sz="2400" i="1">
                <a:solidFill>
                  <a:schemeClr val="tx1">
                    <a:lumMod val="75000"/>
                    <a:lumOff val="25000"/>
                  </a:schemeClr>
                </a:solidFill>
                <a:latin typeface="Segoe UI" panose="020B0502040204020203" pitchFamily="34" charset="0"/>
                <a:cs typeface="Segoe UI" panose="020B0502040204020203" pitchFamily="34" charset="0"/>
              </a:rPr>
              <a:t>beyond the out-of-the-box capabilities of enterprise systems like Dynamics 365.</a:t>
            </a:r>
          </a:p>
        </p:txBody>
      </p:sp>
      <p:pic>
        <p:nvPicPr>
          <p:cNvPr id="5" name="Picture 4" descr="A blue and blue lego&#10;&#10;Description automatically generated">
            <a:extLst>
              <a:ext uri="{FF2B5EF4-FFF2-40B4-BE49-F238E27FC236}">
                <a16:creationId xmlns:a16="http://schemas.microsoft.com/office/drawing/2014/main" id="{6CE14B75-39C0-1450-FAB8-4C0D7725E924}"/>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7129829" y="1051088"/>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233B8E9C-9CD7-B1BB-6D95-670551EAFD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3" name="Picture 2">
            <a:extLst>
              <a:ext uri="{FF2B5EF4-FFF2-40B4-BE49-F238E27FC236}">
                <a16:creationId xmlns:a16="http://schemas.microsoft.com/office/drawing/2014/main" id="{C8CDEE69-4C89-8CE4-7792-612217697439}"/>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135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8CED8-F2DD-22DD-1889-C9EF92F11DBF}"/>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E8776C-6DC2-8A4C-83AE-08777AEFF3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8DE8776C-6DC2-8A4C-83AE-08777AEFF3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4F05554-D781-C23F-4F04-4FB8C6D319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21482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7D1E8-FE7A-E000-569F-396B8B934C5E}"/>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3C37BA0-6C65-4FB2-C175-39CCBA905B3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A059CF42-7862-49A2-8B2C-7EEF37303EE4}"/>
              </a:ext>
            </a:extLst>
          </p:cNvPr>
          <p:cNvSpPr>
            <a:spLocks noGrp="1"/>
          </p:cNvSpPr>
          <p:nvPr>
            <p:ph idx="1"/>
          </p:nvPr>
        </p:nvSpPr>
        <p:spPr/>
        <p:txBody>
          <a:bodyPr>
            <a:normAutofit/>
          </a:bodyPr>
          <a:lstStyle/>
          <a:p>
            <a:r>
              <a:rPr lang="en-US" b="1"/>
              <a:t>Characteristics</a:t>
            </a:r>
          </a:p>
          <a:p>
            <a:pPr lvl="1"/>
            <a:r>
              <a:rPr lang="en-US"/>
              <a:t>Tailored Logic</a:t>
            </a:r>
          </a:p>
          <a:p>
            <a:pPr lvl="1"/>
            <a:r>
              <a:rPr lang="en-US"/>
              <a:t>Integration Flexibility</a:t>
            </a:r>
          </a:p>
          <a:p>
            <a:pPr lvl="1"/>
            <a:r>
              <a:rPr lang="en-US"/>
              <a:t>Enhanced Data Handling</a:t>
            </a:r>
          </a:p>
          <a:p>
            <a:r>
              <a:rPr lang="en-US" b="1"/>
              <a:t>Use Cases</a:t>
            </a:r>
          </a:p>
          <a:p>
            <a:pPr lvl="1"/>
            <a:r>
              <a:rPr lang="en-US"/>
              <a:t>Complex Data Transformations</a:t>
            </a:r>
          </a:p>
          <a:p>
            <a:pPr lvl="1"/>
            <a:r>
              <a:rPr lang="en-US"/>
              <a:t>Specialized Workflows</a:t>
            </a:r>
          </a:p>
          <a:p>
            <a:pPr lvl="1"/>
            <a:r>
              <a:rPr lang="en-US"/>
              <a:t>Regulatory Compliance</a:t>
            </a:r>
          </a:p>
        </p:txBody>
      </p:sp>
      <p:sp>
        <p:nvSpPr>
          <p:cNvPr id="4" name="Slide Number Placeholder 3">
            <a:extLst>
              <a:ext uri="{FF2B5EF4-FFF2-40B4-BE49-F238E27FC236}">
                <a16:creationId xmlns:a16="http://schemas.microsoft.com/office/drawing/2014/main" id="{C1E9FBB8-2EFA-9FA7-4487-E09EE720C574}"/>
              </a:ext>
            </a:extLst>
          </p:cNvPr>
          <p:cNvSpPr>
            <a:spLocks noGrp="1"/>
          </p:cNvSpPr>
          <p:nvPr>
            <p:ph type="sldNum" sz="quarter" idx="12"/>
          </p:nvPr>
        </p:nvSpPr>
        <p:spPr/>
        <p:txBody>
          <a:bodyPr/>
          <a:lstStyle/>
          <a:p>
            <a:fld id="{8D05A9CD-9176-4D89-A414-3BEEE81BBC77}" type="slidenum">
              <a:rPr lang="en-US" smtClean="0"/>
              <a:pPr/>
              <a:t>20</a:t>
            </a:fld>
            <a:endParaRPr lang="en-US"/>
          </a:p>
        </p:txBody>
      </p:sp>
      <p:sp>
        <p:nvSpPr>
          <p:cNvPr id="16" name="Rectángulo redondeado 14">
            <a:extLst>
              <a:ext uri="{FF2B5EF4-FFF2-40B4-BE49-F238E27FC236}">
                <a16:creationId xmlns:a16="http://schemas.microsoft.com/office/drawing/2014/main" id="{4FD42CEA-21F7-705B-1E2A-512B1D075A5E}"/>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B75D04B4-B4AF-BE33-2438-FC93E5275FE2}"/>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Custom Services</a:t>
            </a:r>
          </a:p>
        </p:txBody>
      </p:sp>
      <p:pic>
        <p:nvPicPr>
          <p:cNvPr id="2" name="Content Placeholder 11" descr="A logo with a black background">
            <a:extLst>
              <a:ext uri="{FF2B5EF4-FFF2-40B4-BE49-F238E27FC236}">
                <a16:creationId xmlns:a16="http://schemas.microsoft.com/office/drawing/2014/main" id="{67791F9A-CE63-0638-5D67-296B95EC05C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6" name="Picture 2">
            <a:extLst>
              <a:ext uri="{FF2B5EF4-FFF2-40B4-BE49-F238E27FC236}">
                <a16:creationId xmlns:a16="http://schemas.microsoft.com/office/drawing/2014/main" id="{C421D966-9739-0B34-675C-205E156B3F19}"/>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8612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7528A7-E71E-3790-DC35-D7A4F28B4F86}"/>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CA6A76AE-77CF-A982-FF65-FD841AF8C15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3D207B-3652-3FA9-D63D-D70F50F0426E}"/>
              </a:ext>
            </a:extLst>
          </p:cNvPr>
          <p:cNvSpPr>
            <a:spLocks noGrp="1"/>
          </p:cNvSpPr>
          <p:nvPr>
            <p:ph type="sldNum" sz="quarter" idx="12"/>
          </p:nvPr>
        </p:nvSpPr>
        <p:spPr/>
        <p:txBody>
          <a:bodyPr/>
          <a:lstStyle/>
          <a:p>
            <a:fld id="{8D05A9CD-9176-4D89-A414-3BEEE81BBC77}" type="slidenum">
              <a:rPr lang="en-US" smtClean="0"/>
              <a:pPr/>
              <a:t>21</a:t>
            </a:fld>
            <a:endParaRPr lang="en-US"/>
          </a:p>
        </p:txBody>
      </p:sp>
      <p:sp>
        <p:nvSpPr>
          <p:cNvPr id="16" name="Rectángulo redondeado 14">
            <a:extLst>
              <a:ext uri="{FF2B5EF4-FFF2-40B4-BE49-F238E27FC236}">
                <a16:creationId xmlns:a16="http://schemas.microsoft.com/office/drawing/2014/main" id="{4ABE00AE-6695-063F-B2F9-BE6446F6E453}"/>
              </a:ext>
            </a:extLst>
          </p:cNvPr>
          <p:cNvSpPr/>
          <p:nvPr/>
        </p:nvSpPr>
        <p:spPr>
          <a:xfrm>
            <a:off x="832206" y="2698927"/>
            <a:ext cx="10541286"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E2390496-0DC3-B083-AD91-98262AFD6FCF}"/>
              </a:ext>
            </a:extLst>
          </p:cNvPr>
          <p:cNvSpPr/>
          <p:nvPr/>
        </p:nvSpPr>
        <p:spPr>
          <a:xfrm>
            <a:off x="1" y="2879644"/>
            <a:ext cx="12192000" cy="769441"/>
          </a:xfrm>
          <a:prstGeom prst="rect">
            <a:avLst/>
          </a:prstGeom>
        </p:spPr>
        <p:txBody>
          <a:bodyPr wrap="square" lIns="0" rIns="0" anchor="b" anchorCtr="0">
            <a:spAutoFit/>
          </a:bodyPr>
          <a:lstStyle/>
          <a:p>
            <a:pPr algn="ctr"/>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But what about integration patterns?? </a:t>
            </a:r>
          </a:p>
        </p:txBody>
      </p:sp>
      <p:pic>
        <p:nvPicPr>
          <p:cNvPr id="2" name="Content Placeholder 11" descr="A logo with a black background">
            <a:extLst>
              <a:ext uri="{FF2B5EF4-FFF2-40B4-BE49-F238E27FC236}">
                <a16:creationId xmlns:a16="http://schemas.microsoft.com/office/drawing/2014/main" id="{32524B6F-E8E3-9347-CC8D-EC389EB0AF3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3" name="Picture 2">
            <a:extLst>
              <a:ext uri="{FF2B5EF4-FFF2-40B4-BE49-F238E27FC236}">
                <a16:creationId xmlns:a16="http://schemas.microsoft.com/office/drawing/2014/main" id="{ABE164A1-9025-DC86-7835-0C20FDAA05A7}"/>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8111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Tools to help create solutions that are repeatable and easy to use</a:t>
            </a:r>
          </a:p>
          <a:p>
            <a:r>
              <a:rPr lang="en-GB"/>
              <a:t>Common patterns are easy to follow</a:t>
            </a:r>
          </a:p>
          <a:p>
            <a:r>
              <a:rPr lang="en-GB"/>
              <a:t>Provide puzzle pieces that can be used to solve a problem that can be reused and maintained easily</a:t>
            </a:r>
          </a:p>
          <a:p>
            <a:r>
              <a:rPr lang="en-GB"/>
              <a:t>Add a layer of robustness and reliability to your integration solutions</a:t>
            </a:r>
          </a:p>
          <a:p>
            <a:r>
              <a:rPr lang="en-GB"/>
              <a:t>Help define responsibilities between producer and consumer</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2</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6" name="Picture 5">
            <a:extLst>
              <a:ext uri="{FF2B5EF4-FFF2-40B4-BE49-F238E27FC236}">
                <a16:creationId xmlns:a16="http://schemas.microsoft.com/office/drawing/2014/main" id="{BF5B95C2-4F99-1CC3-3D0C-9C6D1E799481}"/>
              </a:ext>
            </a:extLst>
          </p:cNvPr>
          <p:cNvPicPr>
            <a:picLocks noChangeAspect="1"/>
          </p:cNvPicPr>
          <p:nvPr/>
        </p:nvPicPr>
        <p:blipFill>
          <a:blip r:embed="rId4"/>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1024260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0381F-A886-2415-005A-FF41A08E632F}"/>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59F29DE1-81C1-3074-3698-6F2CCB43434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D8079B5F-4899-5667-3266-BB20E86981FF}"/>
              </a:ext>
            </a:extLst>
          </p:cNvPr>
          <p:cNvSpPr>
            <a:spLocks noGrp="1"/>
          </p:cNvSpPr>
          <p:nvPr>
            <p:ph type="sldNum" sz="quarter" idx="12"/>
          </p:nvPr>
        </p:nvSpPr>
        <p:spPr/>
        <p:txBody>
          <a:bodyPr/>
          <a:lstStyle/>
          <a:p>
            <a:fld id="{8D05A9CD-9176-4D89-A414-3BEEE81BBC77}" type="slidenum">
              <a:rPr lang="en-US" smtClean="0"/>
              <a:pPr/>
              <a:t>23</a:t>
            </a:fld>
            <a:endParaRPr lang="en-US"/>
          </a:p>
        </p:txBody>
      </p:sp>
      <p:sp>
        <p:nvSpPr>
          <p:cNvPr id="16" name="Rectángulo redondeado 14">
            <a:extLst>
              <a:ext uri="{FF2B5EF4-FFF2-40B4-BE49-F238E27FC236}">
                <a16:creationId xmlns:a16="http://schemas.microsoft.com/office/drawing/2014/main" id="{13CA6CCB-F7C8-0C3C-CE9B-24E5B4F61FD5}"/>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6E8771C5-056A-BC1A-27C2-D0624820A337}"/>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Event Driven – Data Event</a:t>
            </a:r>
          </a:p>
        </p:txBody>
      </p:sp>
      <p:pic>
        <p:nvPicPr>
          <p:cNvPr id="2" name="Content Placeholder 11" descr="A logo with a black background">
            <a:extLst>
              <a:ext uri="{FF2B5EF4-FFF2-40B4-BE49-F238E27FC236}">
                <a16:creationId xmlns:a16="http://schemas.microsoft.com/office/drawing/2014/main" id="{EA9C018D-9FED-EF1C-01F1-020E8591DD8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B8913E32-EE4C-EF15-BF71-727D2F1C46F5}"/>
              </a:ext>
            </a:extLst>
          </p:cNvPr>
          <p:cNvPicPr>
            <a:picLocks noGrp="1" noChangeAspect="1"/>
          </p:cNvPicPr>
          <p:nvPr>
            <p:ph idx="1"/>
          </p:nvPr>
        </p:nvPicPr>
        <p:blipFill>
          <a:blip r:embed="rId4"/>
          <a:stretch>
            <a:fillRect/>
          </a:stretch>
        </p:blipFill>
        <p:spPr>
          <a:xfrm>
            <a:off x="914022" y="1825625"/>
            <a:ext cx="10363957" cy="4351338"/>
          </a:xfrm>
          <a:prstGeom prst="rect">
            <a:avLst/>
          </a:prstGeom>
        </p:spPr>
      </p:pic>
      <p:pic>
        <p:nvPicPr>
          <p:cNvPr id="3" name="Picture 2">
            <a:extLst>
              <a:ext uri="{FF2B5EF4-FFF2-40B4-BE49-F238E27FC236}">
                <a16:creationId xmlns:a16="http://schemas.microsoft.com/office/drawing/2014/main" id="{95F3D742-E718-94CB-DB9A-9035C1347F1B}"/>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41785304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278FB-9ACF-DF8B-BF4B-10AB3A3ABC86}"/>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AB6CCD90-6B3C-783B-9430-FD43347125F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89E91E3D-9025-723D-CAEE-5D62331BEEB9}"/>
              </a:ext>
            </a:extLst>
          </p:cNvPr>
          <p:cNvSpPr>
            <a:spLocks noGrp="1"/>
          </p:cNvSpPr>
          <p:nvPr>
            <p:ph type="sldNum" sz="quarter" idx="12"/>
          </p:nvPr>
        </p:nvSpPr>
        <p:spPr/>
        <p:txBody>
          <a:bodyPr/>
          <a:lstStyle/>
          <a:p>
            <a:fld id="{8D05A9CD-9176-4D89-A414-3BEEE81BBC77}" type="slidenum">
              <a:rPr lang="en-US" smtClean="0"/>
              <a:pPr/>
              <a:t>24</a:t>
            </a:fld>
            <a:endParaRPr lang="en-US"/>
          </a:p>
        </p:txBody>
      </p:sp>
      <p:sp>
        <p:nvSpPr>
          <p:cNvPr id="16" name="Rectángulo redondeado 14">
            <a:extLst>
              <a:ext uri="{FF2B5EF4-FFF2-40B4-BE49-F238E27FC236}">
                <a16:creationId xmlns:a16="http://schemas.microsoft.com/office/drawing/2014/main" id="{25C49864-9793-F21A-5429-65997AB002A3}"/>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0788E4E3-2568-5B01-F31D-C01498A06A88}"/>
              </a:ext>
            </a:extLst>
          </p:cNvPr>
          <p:cNvSpPr/>
          <p:nvPr/>
        </p:nvSpPr>
        <p:spPr>
          <a:xfrm>
            <a:off x="676534" y="396696"/>
            <a:ext cx="8721466"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Claim-Check (Luggage Handling)</a:t>
            </a:r>
          </a:p>
        </p:txBody>
      </p:sp>
      <p:pic>
        <p:nvPicPr>
          <p:cNvPr id="2" name="Content Placeholder 11" descr="A logo with a black background">
            <a:extLst>
              <a:ext uri="{FF2B5EF4-FFF2-40B4-BE49-F238E27FC236}">
                <a16:creationId xmlns:a16="http://schemas.microsoft.com/office/drawing/2014/main" id="{64F8FD10-7FF2-FE66-DA6F-C3BDFD5BBE2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9" name="Content Placeholder 8">
            <a:extLst>
              <a:ext uri="{FF2B5EF4-FFF2-40B4-BE49-F238E27FC236}">
                <a16:creationId xmlns:a16="http://schemas.microsoft.com/office/drawing/2014/main" id="{10EC5CAC-A771-B753-8368-650F82C0FD78}"/>
              </a:ext>
            </a:extLst>
          </p:cNvPr>
          <p:cNvPicPr>
            <a:picLocks noGrp="1" noChangeAspect="1"/>
          </p:cNvPicPr>
          <p:nvPr>
            <p:ph idx="1"/>
          </p:nvPr>
        </p:nvPicPr>
        <p:blipFill>
          <a:blip r:embed="rId4"/>
          <a:stretch>
            <a:fillRect/>
          </a:stretch>
        </p:blipFill>
        <p:spPr>
          <a:xfrm>
            <a:off x="563563" y="2232020"/>
            <a:ext cx="11064875" cy="3538548"/>
          </a:xfrm>
          <a:prstGeom prst="rect">
            <a:avLst/>
          </a:prstGeom>
        </p:spPr>
      </p:pic>
      <p:pic>
        <p:nvPicPr>
          <p:cNvPr id="3" name="Picture 2">
            <a:extLst>
              <a:ext uri="{FF2B5EF4-FFF2-40B4-BE49-F238E27FC236}">
                <a16:creationId xmlns:a16="http://schemas.microsoft.com/office/drawing/2014/main" id="{002917E9-AD32-BE5C-847E-0C872EC2604D}"/>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17392186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5</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Request and Reply (OData)</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8" name="Content Placeholder 7">
            <a:extLst>
              <a:ext uri="{FF2B5EF4-FFF2-40B4-BE49-F238E27FC236}">
                <a16:creationId xmlns:a16="http://schemas.microsoft.com/office/drawing/2014/main" id="{82897C4B-74E4-2CE3-D29E-70A7C68FB861}"/>
              </a:ext>
            </a:extLst>
          </p:cNvPr>
          <p:cNvPicPr>
            <a:picLocks noGrp="1" noChangeAspect="1"/>
          </p:cNvPicPr>
          <p:nvPr>
            <p:ph idx="1"/>
          </p:nvPr>
        </p:nvPicPr>
        <p:blipFill>
          <a:blip r:embed="rId4"/>
          <a:stretch>
            <a:fillRect/>
          </a:stretch>
        </p:blipFill>
        <p:spPr>
          <a:xfrm>
            <a:off x="2437870" y="1825625"/>
            <a:ext cx="7316260" cy="4351338"/>
          </a:xfrm>
          <a:prstGeom prst="rect">
            <a:avLst/>
          </a:prstGeom>
        </p:spPr>
      </p:pic>
      <p:pic>
        <p:nvPicPr>
          <p:cNvPr id="3" name="Picture 2">
            <a:extLst>
              <a:ext uri="{FF2B5EF4-FFF2-40B4-BE49-F238E27FC236}">
                <a16:creationId xmlns:a16="http://schemas.microsoft.com/office/drawing/2014/main" id="{8E087597-0754-3BA4-E96C-A3254B42A9CD}"/>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135590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6</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Routing</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0F49DAC0-DA6A-A328-76C0-78C78F23CE45}"/>
              </a:ext>
            </a:extLst>
          </p:cNvPr>
          <p:cNvPicPr>
            <a:picLocks noGrp="1" noChangeAspect="1"/>
          </p:cNvPicPr>
          <p:nvPr>
            <p:ph idx="1"/>
          </p:nvPr>
        </p:nvPicPr>
        <p:blipFill>
          <a:blip r:embed="rId4"/>
          <a:stretch>
            <a:fillRect/>
          </a:stretch>
        </p:blipFill>
        <p:spPr>
          <a:xfrm>
            <a:off x="1291238" y="2101294"/>
            <a:ext cx="9609524" cy="3800000"/>
          </a:xfrm>
          <a:prstGeom prst="rect">
            <a:avLst/>
          </a:prstGeom>
        </p:spPr>
      </p:pic>
      <p:pic>
        <p:nvPicPr>
          <p:cNvPr id="3" name="Picture 2">
            <a:extLst>
              <a:ext uri="{FF2B5EF4-FFF2-40B4-BE49-F238E27FC236}">
                <a16:creationId xmlns:a16="http://schemas.microsoft.com/office/drawing/2014/main" id="{85F4FD58-B3B2-AFDC-26D8-1016E3B2744E}"/>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13954364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7</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Splitter</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BB1A08A0-E37F-7522-9D4C-8EF268305E8A}"/>
              </a:ext>
            </a:extLst>
          </p:cNvPr>
          <p:cNvPicPr>
            <a:picLocks noGrp="1" noChangeAspect="1"/>
          </p:cNvPicPr>
          <p:nvPr>
            <p:ph idx="1"/>
          </p:nvPr>
        </p:nvPicPr>
        <p:blipFill>
          <a:blip r:embed="rId4"/>
          <a:stretch>
            <a:fillRect/>
          </a:stretch>
        </p:blipFill>
        <p:spPr>
          <a:xfrm>
            <a:off x="563563" y="1829721"/>
            <a:ext cx="11064875" cy="4343146"/>
          </a:xfrm>
          <a:prstGeom prst="rect">
            <a:avLst/>
          </a:prstGeom>
        </p:spPr>
      </p:pic>
      <p:pic>
        <p:nvPicPr>
          <p:cNvPr id="3" name="Picture 2">
            <a:extLst>
              <a:ext uri="{FF2B5EF4-FFF2-40B4-BE49-F238E27FC236}">
                <a16:creationId xmlns:a16="http://schemas.microsoft.com/office/drawing/2014/main" id="{6815D573-C36A-17E2-3263-E3C8C2D8B609}"/>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4572059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8</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Pipes and Filters</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FD16F80C-5070-E3BB-FEEF-DB556032BD48}"/>
              </a:ext>
            </a:extLst>
          </p:cNvPr>
          <p:cNvPicPr>
            <a:picLocks noGrp="1" noChangeAspect="1"/>
          </p:cNvPicPr>
          <p:nvPr>
            <p:ph idx="1"/>
          </p:nvPr>
        </p:nvPicPr>
        <p:blipFill>
          <a:blip r:embed="rId4"/>
          <a:stretch>
            <a:fillRect/>
          </a:stretch>
        </p:blipFill>
        <p:spPr>
          <a:xfrm>
            <a:off x="563563" y="2554930"/>
            <a:ext cx="11064875" cy="2892728"/>
          </a:xfrm>
          <a:prstGeom prst="rect">
            <a:avLst/>
          </a:prstGeom>
        </p:spPr>
      </p:pic>
      <p:pic>
        <p:nvPicPr>
          <p:cNvPr id="3" name="Picture 2">
            <a:extLst>
              <a:ext uri="{FF2B5EF4-FFF2-40B4-BE49-F238E27FC236}">
                <a16:creationId xmlns:a16="http://schemas.microsoft.com/office/drawing/2014/main" id="{90CFB83D-1522-F2A1-416E-D4F846A3DD0F}"/>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4006624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9</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Load Leveling</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D28C9F5F-8CD7-12A9-DCE8-29E58957515A}"/>
              </a:ext>
            </a:extLst>
          </p:cNvPr>
          <p:cNvPicPr>
            <a:picLocks noGrp="1" noChangeAspect="1"/>
          </p:cNvPicPr>
          <p:nvPr>
            <p:ph idx="1"/>
          </p:nvPr>
        </p:nvPicPr>
        <p:blipFill>
          <a:blip r:embed="rId4"/>
          <a:stretch>
            <a:fillRect/>
          </a:stretch>
        </p:blipFill>
        <p:spPr>
          <a:xfrm>
            <a:off x="563563" y="2053134"/>
            <a:ext cx="11064875" cy="3896320"/>
          </a:xfrm>
          <a:prstGeom prst="rect">
            <a:avLst/>
          </a:prstGeom>
        </p:spPr>
      </p:pic>
      <p:pic>
        <p:nvPicPr>
          <p:cNvPr id="3" name="Picture 2">
            <a:extLst>
              <a:ext uri="{FF2B5EF4-FFF2-40B4-BE49-F238E27FC236}">
                <a16:creationId xmlns:a16="http://schemas.microsoft.com/office/drawing/2014/main" id="{CA25E5C3-4F42-B7C3-976D-015EFBBD78D4}"/>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131414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B3968-4778-C0B0-92C2-D1A9A51EF34E}"/>
            </a:ext>
          </a:extLst>
        </p:cNvPr>
        <p:cNvGrpSpPr/>
        <p:nvPr/>
      </p:nvGrpSpPr>
      <p:grpSpPr>
        <a:xfrm>
          <a:off x="0" y="0"/>
          <a:ext cx="0" cy="0"/>
          <a:chOff x="0" y="0"/>
          <a:chExt cx="0" cy="0"/>
        </a:xfrm>
      </p:grpSpPr>
      <p:sp>
        <p:nvSpPr>
          <p:cNvPr id="27" name="Rectángulo redondeado 14">
            <a:extLst>
              <a:ext uri="{FF2B5EF4-FFF2-40B4-BE49-F238E27FC236}">
                <a16:creationId xmlns:a16="http://schemas.microsoft.com/office/drawing/2014/main" id="{E4920E49-0A35-6591-7BE0-A05007898108}"/>
              </a:ext>
            </a:extLst>
          </p:cNvPr>
          <p:cNvSpPr/>
          <p:nvPr/>
        </p:nvSpPr>
        <p:spPr>
          <a:xfrm>
            <a:off x="1591823" y="-15598"/>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logo on a black background&#10;&#10;Description automatically generated">
            <a:extLst>
              <a:ext uri="{FF2B5EF4-FFF2-40B4-BE49-F238E27FC236}">
                <a16:creationId xmlns:a16="http://schemas.microsoft.com/office/drawing/2014/main" id="{AE04D15D-74A0-D3A1-0E23-3E3B833E708C}"/>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9714"/>
          <a:stretch/>
        </p:blipFill>
        <p:spPr>
          <a:xfrm>
            <a:off x="1524000" y="-31860"/>
            <a:ext cx="5069888" cy="1490492"/>
          </a:xfrm>
          <a:prstGeom prst="rect">
            <a:avLst/>
          </a:prstGeom>
        </p:spPr>
      </p:pic>
      <p:graphicFrame>
        <p:nvGraphicFramePr>
          <p:cNvPr id="9" name="Object 8" hidden="1">
            <a:extLst>
              <a:ext uri="{FF2B5EF4-FFF2-40B4-BE49-F238E27FC236}">
                <a16:creationId xmlns:a16="http://schemas.microsoft.com/office/drawing/2014/main" id="{3CE81406-F282-4C0C-0579-803CBA10FB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3CE81406-F282-4C0C-0579-803CBA10FB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EF94421E-210B-5638-CE3A-88897BF1060C}"/>
              </a:ext>
            </a:extLst>
          </p:cNvPr>
          <p:cNvGrpSpPr/>
          <p:nvPr/>
        </p:nvGrpSpPr>
        <p:grpSpPr>
          <a:xfrm>
            <a:off x="0" y="0"/>
            <a:ext cx="12192000" cy="6858000"/>
            <a:chOff x="0" y="0"/>
            <a:chExt cx="12192000" cy="6858000"/>
          </a:xfrm>
        </p:grpSpPr>
        <p:pic>
          <p:nvPicPr>
            <p:cNvPr id="12" name="Picture 11">
              <a:extLst>
                <a:ext uri="{FF2B5EF4-FFF2-40B4-BE49-F238E27FC236}">
                  <a16:creationId xmlns:a16="http://schemas.microsoft.com/office/drawing/2014/main" id="{958F844D-1546-D0F1-EC3B-1CF16955B54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11" name="Picture 10" descr="Background pattern&#10;&#10;Description automatically generated">
              <a:extLst>
                <a:ext uri="{FF2B5EF4-FFF2-40B4-BE49-F238E27FC236}">
                  <a16:creationId xmlns:a16="http://schemas.microsoft.com/office/drawing/2014/main" id="{980A1935-B667-7A60-79BA-838AF0A7C7F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sp>
        <p:nvSpPr>
          <p:cNvPr id="19" name="Rectángulo 6175">
            <a:extLst>
              <a:ext uri="{FF2B5EF4-FFF2-40B4-BE49-F238E27FC236}">
                <a16:creationId xmlns:a16="http://schemas.microsoft.com/office/drawing/2014/main" id="{28041714-0693-8832-6CF5-B3D1C51D9337}"/>
              </a:ext>
            </a:extLst>
          </p:cNvPr>
          <p:cNvSpPr/>
          <p:nvPr/>
        </p:nvSpPr>
        <p:spPr>
          <a:xfrm>
            <a:off x="0" y="4470400"/>
            <a:ext cx="12214702" cy="23876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任意多边形: 形状 16">
            <a:extLst>
              <a:ext uri="{FF2B5EF4-FFF2-40B4-BE49-F238E27FC236}">
                <a16:creationId xmlns:a16="http://schemas.microsoft.com/office/drawing/2014/main" id="{A1F881FE-F4A3-440B-E8B1-8D9DFE1459CE}"/>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008A577D-5F0D-7367-5434-9952D9A0C0D5}"/>
              </a:ext>
            </a:extLst>
          </p:cNvPr>
          <p:cNvSpPr/>
          <p:nvPr/>
        </p:nvSpPr>
        <p:spPr>
          <a:xfrm>
            <a:off x="9464634"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8EF95625-7552-B767-B955-E8A5735B20CE}"/>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03B8C8EF-48C5-89E6-5DDF-2D2B0F7CBE7C}"/>
              </a:ext>
            </a:extLst>
          </p:cNvPr>
          <p:cNvSpPr>
            <a:spLocks noGrp="1"/>
          </p:cNvSpPr>
          <p:nvPr>
            <p:ph type="subTitle" idx="1"/>
          </p:nvPr>
        </p:nvSpPr>
        <p:spPr/>
        <p:txBody>
          <a:bodyPr/>
          <a:lstStyle/>
          <a:p>
            <a:endParaRPr lang="en-US"/>
          </a:p>
        </p:txBody>
      </p:sp>
      <p:sp>
        <p:nvSpPr>
          <p:cNvPr id="13" name="Rectángulo redondeado 14">
            <a:extLst>
              <a:ext uri="{FF2B5EF4-FFF2-40B4-BE49-F238E27FC236}">
                <a16:creationId xmlns:a16="http://schemas.microsoft.com/office/drawing/2014/main" id="{384502AB-305F-3263-8119-28B69608CD23}"/>
              </a:ext>
            </a:extLst>
          </p:cNvPr>
          <p:cNvSpPr/>
          <p:nvPr/>
        </p:nvSpPr>
        <p:spPr>
          <a:xfrm>
            <a:off x="834056" y="1089635"/>
            <a:ext cx="10523889" cy="4168165"/>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FDA2756E-31E3-6256-1CDC-B72454954BAC}"/>
              </a:ext>
            </a:extLst>
          </p:cNvPr>
          <p:cNvCxnSpPr>
            <a:cxnSpLocks/>
          </p:cNvCxnSpPr>
          <p:nvPr/>
        </p:nvCxnSpPr>
        <p:spPr>
          <a:xfrm>
            <a:off x="2742954" y="6035777"/>
            <a:ext cx="9471748"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E23FF29-F52F-AED4-719B-C07C3F2A5DF1}"/>
              </a:ext>
            </a:extLst>
          </p:cNvPr>
          <p:cNvCxnSpPr/>
          <p:nvPr/>
        </p:nvCxnSpPr>
        <p:spPr>
          <a:xfrm>
            <a:off x="1411654" y="1811788"/>
            <a:ext cx="9080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C6C1AF8-FBF5-5045-E226-8190A0C6F29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763566" y="423372"/>
            <a:ext cx="878993" cy="878993"/>
          </a:xfrm>
          <a:prstGeom prst="rect">
            <a:avLst/>
          </a:prstGeom>
        </p:spPr>
      </p:pic>
      <p:sp>
        <p:nvSpPr>
          <p:cNvPr id="5" name="AutoShape 4" descr="Previewing Image attachment">
            <a:extLst>
              <a:ext uri="{FF2B5EF4-FFF2-40B4-BE49-F238E27FC236}">
                <a16:creationId xmlns:a16="http://schemas.microsoft.com/office/drawing/2014/main" id="{46C2E4C8-0D45-62AC-6500-2F7426B6299D}"/>
              </a:ext>
            </a:extLst>
          </p:cNvPr>
          <p:cNvSpPr>
            <a:spLocks noChangeAspect="1" noChangeArrowheads="1"/>
          </p:cNvSpPr>
          <p:nvPr/>
        </p:nvSpPr>
        <p:spPr bwMode="auto">
          <a:xfrm>
            <a:off x="1849902" y="3276600"/>
            <a:ext cx="4398498" cy="439849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Previewing Image attachment">
            <a:extLst>
              <a:ext uri="{FF2B5EF4-FFF2-40B4-BE49-F238E27FC236}">
                <a16:creationId xmlns:a16="http://schemas.microsoft.com/office/drawing/2014/main" id="{A02E8CB7-0F51-C4DA-9570-06E332251CA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4" name="Picture 10">
            <a:extLst>
              <a:ext uri="{FF2B5EF4-FFF2-40B4-BE49-F238E27FC236}">
                <a16:creationId xmlns:a16="http://schemas.microsoft.com/office/drawing/2014/main" id="{11B2B54A-8C00-64BC-DCE0-EF5DAFEAD7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 y="-37579"/>
            <a:ext cx="12322307" cy="69312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79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55DAD-F991-58D6-BCCD-B438E4C60318}"/>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E5F74BCC-099B-512A-665C-F6E608E0749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DEB46502-0988-13A6-094C-523BE7B51F54}"/>
              </a:ext>
            </a:extLst>
          </p:cNvPr>
          <p:cNvSpPr>
            <a:spLocks noGrp="1"/>
          </p:cNvSpPr>
          <p:nvPr>
            <p:ph type="sldNum" sz="quarter" idx="12"/>
          </p:nvPr>
        </p:nvSpPr>
        <p:spPr/>
        <p:txBody>
          <a:bodyPr/>
          <a:lstStyle/>
          <a:p>
            <a:fld id="{8D05A9CD-9176-4D89-A414-3BEEE81BBC77}" type="slidenum">
              <a:rPr lang="en-US" smtClean="0"/>
              <a:pPr/>
              <a:t>30</a:t>
            </a:fld>
            <a:endParaRPr lang="en-US"/>
          </a:p>
        </p:txBody>
      </p:sp>
      <p:sp>
        <p:nvSpPr>
          <p:cNvPr id="16" name="Rectángulo redondeado 14">
            <a:extLst>
              <a:ext uri="{FF2B5EF4-FFF2-40B4-BE49-F238E27FC236}">
                <a16:creationId xmlns:a16="http://schemas.microsoft.com/office/drawing/2014/main" id="{DA035D00-8D29-300C-76AC-D66DC1882CF0}"/>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7BF3B135-7BC8-6CAF-AD94-3E9848D8C584}"/>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Circuit Breaker</a:t>
            </a:r>
          </a:p>
        </p:txBody>
      </p:sp>
      <p:pic>
        <p:nvPicPr>
          <p:cNvPr id="2" name="Content Placeholder 11" descr="A logo with a black background">
            <a:extLst>
              <a:ext uri="{FF2B5EF4-FFF2-40B4-BE49-F238E27FC236}">
                <a16:creationId xmlns:a16="http://schemas.microsoft.com/office/drawing/2014/main" id="{E42AA610-E642-23F8-B6A6-2A05E5499184}"/>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CFD85B7D-4C70-526F-D5D8-5F6C94CFF7B4}"/>
              </a:ext>
            </a:extLst>
          </p:cNvPr>
          <p:cNvPicPr>
            <a:picLocks noGrp="1" noChangeAspect="1"/>
          </p:cNvPicPr>
          <p:nvPr>
            <p:ph idx="1"/>
          </p:nvPr>
        </p:nvPicPr>
        <p:blipFill>
          <a:blip r:embed="rId4"/>
          <a:stretch>
            <a:fillRect/>
          </a:stretch>
        </p:blipFill>
        <p:spPr>
          <a:xfrm>
            <a:off x="563563" y="2134659"/>
            <a:ext cx="11064875" cy="3733270"/>
          </a:xfrm>
          <a:prstGeom prst="rect">
            <a:avLst/>
          </a:prstGeom>
        </p:spPr>
      </p:pic>
      <p:pic>
        <p:nvPicPr>
          <p:cNvPr id="3" name="Picture 2">
            <a:extLst>
              <a:ext uri="{FF2B5EF4-FFF2-40B4-BE49-F238E27FC236}">
                <a16:creationId xmlns:a16="http://schemas.microsoft.com/office/drawing/2014/main" id="{AECD4FAF-04AD-49E6-BE4A-1CEE61E85C0B}"/>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441500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2A812-32CE-66FA-63D5-3A796552A87A}"/>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92B8DCC8-048E-4910-1D09-8D58A2090A9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B801BC0F-C8A6-94AC-1D27-4B2320D5B527}"/>
              </a:ext>
            </a:extLst>
          </p:cNvPr>
          <p:cNvSpPr>
            <a:spLocks noGrp="1"/>
          </p:cNvSpPr>
          <p:nvPr>
            <p:ph type="sldNum" sz="quarter" idx="12"/>
          </p:nvPr>
        </p:nvSpPr>
        <p:spPr/>
        <p:txBody>
          <a:bodyPr/>
          <a:lstStyle/>
          <a:p>
            <a:fld id="{8D05A9CD-9176-4D89-A414-3BEEE81BBC77}" type="slidenum">
              <a:rPr lang="en-US" smtClean="0"/>
              <a:pPr/>
              <a:t>31</a:t>
            </a:fld>
            <a:endParaRPr lang="en-US"/>
          </a:p>
        </p:txBody>
      </p:sp>
      <p:sp>
        <p:nvSpPr>
          <p:cNvPr id="16" name="Rectángulo redondeado 14">
            <a:extLst>
              <a:ext uri="{FF2B5EF4-FFF2-40B4-BE49-F238E27FC236}">
                <a16:creationId xmlns:a16="http://schemas.microsoft.com/office/drawing/2014/main" id="{577CA6C9-8F96-7C3E-883E-F124C3B50C2A}"/>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C99C0312-A761-D021-4F23-E6D2AC8F7BA3}"/>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Process Manager</a:t>
            </a:r>
          </a:p>
        </p:txBody>
      </p:sp>
      <p:pic>
        <p:nvPicPr>
          <p:cNvPr id="2" name="Content Placeholder 11" descr="A logo with a black background">
            <a:extLst>
              <a:ext uri="{FF2B5EF4-FFF2-40B4-BE49-F238E27FC236}">
                <a16:creationId xmlns:a16="http://schemas.microsoft.com/office/drawing/2014/main" id="{CCBE2C77-844B-2CBB-B838-A2871B9FA7E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Content Placeholder 4">
            <a:extLst>
              <a:ext uri="{FF2B5EF4-FFF2-40B4-BE49-F238E27FC236}">
                <a16:creationId xmlns:a16="http://schemas.microsoft.com/office/drawing/2014/main" id="{31063741-457D-6B5F-F8EF-B1CBC615B4E7}"/>
              </a:ext>
            </a:extLst>
          </p:cNvPr>
          <p:cNvPicPr>
            <a:picLocks noGrp="1" noChangeAspect="1"/>
          </p:cNvPicPr>
          <p:nvPr>
            <p:ph idx="1"/>
          </p:nvPr>
        </p:nvPicPr>
        <p:blipFill>
          <a:blip r:embed="rId4"/>
          <a:stretch>
            <a:fillRect/>
          </a:stretch>
        </p:blipFill>
        <p:spPr>
          <a:xfrm>
            <a:off x="3341669" y="1825625"/>
            <a:ext cx="5508662" cy="4351338"/>
          </a:xfrm>
          <a:prstGeom prst="rect">
            <a:avLst/>
          </a:prstGeom>
        </p:spPr>
      </p:pic>
      <p:pic>
        <p:nvPicPr>
          <p:cNvPr id="3" name="Picture 2">
            <a:extLst>
              <a:ext uri="{FF2B5EF4-FFF2-40B4-BE49-F238E27FC236}">
                <a16:creationId xmlns:a16="http://schemas.microsoft.com/office/drawing/2014/main" id="{5AA99C44-09C7-35FE-A28B-F7C8E0B89B33}"/>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0352574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F&amp;O endpoints are free but can be throttled</a:t>
            </a:r>
          </a:p>
          <a:p>
            <a:r>
              <a:rPr lang="en-GB"/>
              <a:t>Azure costs money</a:t>
            </a:r>
          </a:p>
          <a:p>
            <a:r>
              <a:rPr lang="en-GB"/>
              <a:t>“Decoupled”</a:t>
            </a:r>
          </a:p>
          <a:p>
            <a:pPr lvl="1"/>
            <a:r>
              <a:rPr lang="en-GB"/>
              <a:t>Allows for demand spikes without interactions starting to fail</a:t>
            </a:r>
          </a:p>
          <a:p>
            <a:pPr lvl="1"/>
            <a:r>
              <a:rPr lang="en-GB"/>
              <a:t>Throughput scales to resources allowed rather demand</a:t>
            </a:r>
          </a:p>
          <a:p>
            <a:pPr lvl="1"/>
            <a:endParaRPr lang="en-GB"/>
          </a:p>
          <a:p>
            <a:pPr lvl="1"/>
            <a:endParaRPr lang="en-GB"/>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2</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Budget Management</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713DB89E-A20F-F2A8-AB3F-20CD068163C7}"/>
              </a:ext>
            </a:extLst>
          </p:cNvPr>
          <p:cNvPicPr>
            <a:picLocks noChangeAspect="1"/>
          </p:cNvPicPr>
          <p:nvPr/>
        </p:nvPicPr>
        <p:blipFill>
          <a:blip r:embed="rId4"/>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24042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6" name="Content Placeholder 5">
            <a:extLst>
              <a:ext uri="{FF2B5EF4-FFF2-40B4-BE49-F238E27FC236}">
                <a16:creationId xmlns:a16="http://schemas.microsoft.com/office/drawing/2014/main" id="{90914D4B-EC05-2DE4-7000-E8DDB9BF93B9}"/>
              </a:ext>
            </a:extLst>
          </p:cNvPr>
          <p:cNvPicPr>
            <a:picLocks noGrp="1" noChangeAspect="1"/>
          </p:cNvPicPr>
          <p:nvPr>
            <p:ph idx="1"/>
          </p:nvPr>
        </p:nvPicPr>
        <p:blipFill>
          <a:blip r:embed="rId3"/>
          <a:stretch>
            <a:fillRect/>
          </a:stretch>
        </p:blipFill>
        <p:spPr>
          <a:xfrm>
            <a:off x="377560" y="2326210"/>
            <a:ext cx="11135178" cy="3117850"/>
          </a:xfr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3</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emand vs Availability</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3" name="Picture 2">
            <a:extLst>
              <a:ext uri="{FF2B5EF4-FFF2-40B4-BE49-F238E27FC236}">
                <a16:creationId xmlns:a16="http://schemas.microsoft.com/office/drawing/2014/main" id="{B9DC655A-6F8C-4D08-7755-7433577286CE}"/>
              </a:ext>
            </a:extLst>
          </p:cNvPr>
          <p:cNvPicPr>
            <a:picLocks noChangeAspect="1"/>
          </p:cNvPicPr>
          <p:nvPr/>
        </p:nvPicPr>
        <p:blipFill>
          <a:blip r:embed="rId5"/>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140694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We can do real time – at a premium</a:t>
            </a:r>
          </a:p>
          <a:p>
            <a:r>
              <a:rPr lang="en-GB"/>
              <a:t>When we introduce some time lag, costs go down</a:t>
            </a:r>
          </a:p>
          <a:p>
            <a:pPr lvl="1"/>
            <a:r>
              <a:rPr lang="en-GB"/>
              <a:t>Real Time 	= $$$$</a:t>
            </a:r>
          </a:p>
          <a:p>
            <a:pPr lvl="1"/>
            <a:r>
              <a:rPr lang="en-GB"/>
              <a:t>Near real time 	= $$$</a:t>
            </a:r>
          </a:p>
          <a:p>
            <a:pPr lvl="1"/>
            <a:r>
              <a:rPr lang="en-GB"/>
              <a:t>Small delay 	= $$</a:t>
            </a:r>
          </a:p>
          <a:p>
            <a:pPr lvl="1"/>
            <a:r>
              <a:rPr lang="en-GB"/>
              <a:t>Large delay 	= $</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4</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Demand vs Dollars</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5B78969B-96A8-02C9-307D-381A9D54434A}"/>
              </a:ext>
            </a:extLst>
          </p:cNvPr>
          <p:cNvPicPr>
            <a:picLocks noChangeAspect="1"/>
          </p:cNvPicPr>
          <p:nvPr/>
        </p:nvPicPr>
        <p:blipFill>
          <a:blip r:embed="rId4"/>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28122298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Azure Costs money</a:t>
            </a:r>
          </a:p>
          <a:p>
            <a:r>
              <a:rPr lang="en-GB"/>
              <a:t>FO Costs Time</a:t>
            </a:r>
          </a:p>
          <a:p>
            <a:pPr lvl="1"/>
            <a:r>
              <a:rPr lang="en-GB"/>
              <a:t>Reminder: FO is throttled on OData and Custom Services</a:t>
            </a:r>
          </a:p>
          <a:p>
            <a:pPr lvl="1"/>
            <a:r>
              <a:rPr lang="en-GB"/>
              <a:t>Prioritize, Throttle, Optimize</a:t>
            </a:r>
          </a:p>
          <a:p>
            <a:pPr lvl="1"/>
            <a:r>
              <a:rPr lang="en-GB"/>
              <a:t>Throttling prioritization</a:t>
            </a:r>
          </a:p>
          <a:p>
            <a:pPr lvl="2"/>
            <a:r>
              <a:rPr lang="en-GB">
                <a:hlinkClick r:id="rId3"/>
              </a:rPr>
              <a:t>https://learn.microsoft.com/en-us/dynamics365/fin-ops-core/dev-itpro/data-entities/priority-based-throttling</a:t>
            </a:r>
            <a:endParaRPr lang="en-GB"/>
          </a:p>
          <a:p>
            <a:pPr lvl="2"/>
            <a:r>
              <a:rPr lang="en-GB">
                <a:hlinkClick r:id="rId4"/>
              </a:rPr>
              <a:t>https://community.dynamics.com/blogs/post/?postid=58b34404-f895-4a1e-abfa-50532847a1d8</a:t>
            </a:r>
            <a:endParaRPr lang="en-GB"/>
          </a:p>
          <a:p>
            <a:pPr lvl="2"/>
            <a:endParaRPr lang="en-GB"/>
          </a:p>
          <a:p>
            <a:pPr lvl="1"/>
            <a:endParaRPr lang="en-GB"/>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5</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Balancing Budgets</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28858258-15CE-B0F3-D18D-540588DF2E3C}"/>
              </a:ext>
            </a:extLst>
          </p:cNvPr>
          <p:cNvPicPr>
            <a:picLocks noChangeAspect="1"/>
          </p:cNvPicPr>
          <p:nvPr/>
        </p:nvPicPr>
        <p:blipFill>
          <a:blip r:embed="rId6"/>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41598769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Problem: Expect 10k </a:t>
            </a:r>
            <a:r>
              <a:rPr lang="en-GB" err="1"/>
              <a:t>eComm</a:t>
            </a:r>
            <a:r>
              <a:rPr lang="en-GB"/>
              <a:t> Sales Orders per day</a:t>
            </a:r>
          </a:p>
          <a:p>
            <a:pPr lvl="1"/>
            <a:r>
              <a:rPr lang="en-GB"/>
              <a:t>10k Sales order headers</a:t>
            </a:r>
          </a:p>
          <a:p>
            <a:pPr lvl="1"/>
            <a:r>
              <a:rPr lang="en-GB"/>
              <a:t>20k Sales order lines (average)</a:t>
            </a:r>
          </a:p>
          <a:p>
            <a:r>
              <a:rPr lang="en-GB"/>
              <a:t>Solutions?</a:t>
            </a:r>
          </a:p>
          <a:p>
            <a:pPr lvl="1"/>
            <a:r>
              <a:rPr lang="en-GB"/>
              <a:t>Use Logic Apps and OData? Not ideal because we don’t know when those orders will show up</a:t>
            </a:r>
          </a:p>
          <a:p>
            <a:pPr lvl="1"/>
            <a:r>
              <a:rPr lang="en-GB"/>
              <a:t>Use Logic Apps and DMF Endpoints? Better but still message based so could be “chatty” with DMF</a:t>
            </a:r>
          </a:p>
          <a:p>
            <a:pPr lvl="1"/>
            <a:r>
              <a:rPr lang="en-GB"/>
              <a:t>Use Azure Data factory with DMF Endpoints and Composite entities? Even better</a:t>
            </a:r>
          </a:p>
          <a:p>
            <a:r>
              <a:rPr lang="en-GB"/>
              <a:t>But need to know all the details on where the data are coming from</a:t>
            </a:r>
          </a:p>
          <a:p>
            <a:endParaRPr lang="en-GB"/>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6</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Balancing Act - Example</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61E74CF7-B3AA-FB57-EA58-DD30CAE5C44B}"/>
              </a:ext>
            </a:extLst>
          </p:cNvPr>
          <p:cNvPicPr>
            <a:picLocks noChangeAspect="1"/>
          </p:cNvPicPr>
          <p:nvPr/>
        </p:nvPicPr>
        <p:blipFill>
          <a:blip r:embed="rId4"/>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0565937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Decoupled”</a:t>
            </a:r>
          </a:p>
          <a:p>
            <a:pPr lvl="1"/>
            <a:r>
              <a:rPr lang="en-GB"/>
              <a:t>Azure Service Bus Queue</a:t>
            </a:r>
          </a:p>
          <a:p>
            <a:pPr lvl="2"/>
            <a:r>
              <a:rPr lang="en-GB"/>
              <a:t>Cheap, Fast, it’s a queue</a:t>
            </a:r>
          </a:p>
          <a:p>
            <a:pPr lvl="1"/>
            <a:r>
              <a:rPr lang="en-GB"/>
              <a:t>Azure Service Bus Topic</a:t>
            </a:r>
          </a:p>
          <a:p>
            <a:pPr lvl="2"/>
            <a:r>
              <a:rPr lang="en-GB"/>
              <a:t>Collections of queues</a:t>
            </a:r>
          </a:p>
          <a:p>
            <a:pPr lvl="2"/>
            <a:r>
              <a:rPr lang="en-GB"/>
              <a:t>1 message in, n messages out</a:t>
            </a:r>
          </a:p>
          <a:p>
            <a:pPr lvl="1"/>
            <a:r>
              <a:rPr lang="en-GB"/>
              <a:t>Azure Blob Storage</a:t>
            </a:r>
          </a:p>
          <a:p>
            <a:pPr lvl="2"/>
            <a:r>
              <a:rPr lang="en-GB"/>
              <a:t>Cheap</a:t>
            </a:r>
          </a:p>
          <a:p>
            <a:pPr lvl="2"/>
            <a:r>
              <a:rPr lang="en-GB"/>
              <a:t>Don’t care about order of operations</a:t>
            </a:r>
          </a:p>
          <a:p>
            <a:pPr lvl="1"/>
            <a:r>
              <a:rPr lang="en-GB"/>
              <a:t>also Event Grids and Event Hub for hyper scale</a:t>
            </a:r>
          </a:p>
          <a:p>
            <a:r>
              <a:rPr lang="en-GB"/>
              <a:t>HTTPS is an option for a more direct route</a:t>
            </a:r>
          </a:p>
          <a:p>
            <a:pPr lvl="2"/>
            <a:endParaRPr lang="en-GB"/>
          </a:p>
          <a:p>
            <a:pPr lvl="1"/>
            <a:endParaRPr lang="en-GB"/>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7</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Temporary Storage</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0793B7FF-C42B-A00E-43DE-5B78B711878E}"/>
              </a:ext>
            </a:extLst>
          </p:cNvPr>
          <p:cNvPicPr>
            <a:picLocks noChangeAspect="1"/>
          </p:cNvPicPr>
          <p:nvPr/>
        </p:nvPicPr>
        <p:blipFill>
          <a:blip r:embed="rId4"/>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11118220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a:t>Workload Decomposition</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8</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Instanced Payloads</a:t>
            </a:r>
          </a:p>
        </p:txBody>
      </p:sp>
      <p:pic>
        <p:nvPicPr>
          <p:cNvPr id="2" name="Content Placeholder 11" descr="A logo with a black background">
            <a:extLst>
              <a:ext uri="{FF2B5EF4-FFF2-40B4-BE49-F238E27FC236}">
                <a16:creationId xmlns:a16="http://schemas.microsoft.com/office/drawing/2014/main" id="{C09EFF51-1906-C283-4466-221D3BC405A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5" name="Picture 4">
            <a:extLst>
              <a:ext uri="{FF2B5EF4-FFF2-40B4-BE49-F238E27FC236}">
                <a16:creationId xmlns:a16="http://schemas.microsoft.com/office/drawing/2014/main" id="{82936A37-2661-81EF-26EF-E8F0A2D70D9B}"/>
              </a:ext>
            </a:extLst>
          </p:cNvPr>
          <p:cNvPicPr>
            <a:picLocks noChangeAspect="1"/>
          </p:cNvPicPr>
          <p:nvPr/>
        </p:nvPicPr>
        <p:blipFill>
          <a:blip r:embed="rId4"/>
          <a:stretch>
            <a:fillRect/>
          </a:stretch>
        </p:blipFill>
        <p:spPr>
          <a:xfrm>
            <a:off x="11692802" y="6356350"/>
            <a:ext cx="499198" cy="499198"/>
          </a:xfrm>
          <a:prstGeom prst="rect">
            <a:avLst/>
          </a:prstGeom>
        </p:spPr>
      </p:pic>
      <p:pic>
        <p:nvPicPr>
          <p:cNvPr id="6" name="Picture 5">
            <a:extLst>
              <a:ext uri="{FF2B5EF4-FFF2-40B4-BE49-F238E27FC236}">
                <a16:creationId xmlns:a16="http://schemas.microsoft.com/office/drawing/2014/main" id="{2E576C5B-5015-6ED2-176F-CD7A1343BAF1}"/>
              </a:ext>
            </a:extLst>
          </p:cNvPr>
          <p:cNvPicPr>
            <a:picLocks noChangeAspect="1"/>
          </p:cNvPicPr>
          <p:nvPr/>
        </p:nvPicPr>
        <p:blipFill>
          <a:blip r:embed="rId5"/>
          <a:stretch>
            <a:fillRect/>
          </a:stretch>
        </p:blipFill>
        <p:spPr>
          <a:xfrm>
            <a:off x="622974" y="2629865"/>
            <a:ext cx="10780952" cy="2742857"/>
          </a:xfrm>
          <a:prstGeom prst="rect">
            <a:avLst/>
          </a:prstGeom>
        </p:spPr>
      </p:pic>
    </p:spTree>
    <p:extLst>
      <p:ext uri="{BB962C8B-B14F-4D97-AF65-F5344CB8AC3E}">
        <p14:creationId xmlns:p14="http://schemas.microsoft.com/office/powerpoint/2010/main" val="3066578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C7D9D-68C1-17D4-5BD9-0ACC47F0204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4C107C8-E347-BE47-9DE6-AEF6318ADA8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752493E2-87D0-7218-8BCC-452F70DDF903}"/>
              </a:ext>
            </a:extLst>
          </p:cNvPr>
          <p:cNvSpPr>
            <a:spLocks noGrp="1"/>
          </p:cNvSpPr>
          <p:nvPr>
            <p:ph type="sldNum" sz="quarter" idx="12"/>
          </p:nvPr>
        </p:nvSpPr>
        <p:spPr/>
        <p:txBody>
          <a:bodyPr/>
          <a:lstStyle/>
          <a:p>
            <a:fld id="{8D05A9CD-9176-4D89-A414-3BEEE81BBC77}" type="slidenum">
              <a:rPr lang="en-US" smtClean="0"/>
              <a:pPr/>
              <a:t>39</a:t>
            </a:fld>
            <a:endParaRPr lang="en-US"/>
          </a:p>
        </p:txBody>
      </p:sp>
      <p:pic>
        <p:nvPicPr>
          <p:cNvPr id="5" name="Picture 4">
            <a:extLst>
              <a:ext uri="{FF2B5EF4-FFF2-40B4-BE49-F238E27FC236}">
                <a16:creationId xmlns:a16="http://schemas.microsoft.com/office/drawing/2014/main" id="{AC1EBEB7-5ABE-5F5C-4E2C-BDEFB16E620E}"/>
              </a:ext>
            </a:extLst>
          </p:cNvPr>
          <p:cNvPicPr>
            <a:picLocks noChangeAspect="1"/>
          </p:cNvPicPr>
          <p:nvPr/>
        </p:nvPicPr>
        <p:blipFill>
          <a:blip r:embed="rId2"/>
          <a:stretch>
            <a:fillRect/>
          </a:stretch>
        </p:blipFill>
        <p:spPr>
          <a:xfrm>
            <a:off x="857951" y="57978"/>
            <a:ext cx="10476098" cy="6742043"/>
          </a:xfrm>
          <a:prstGeom prst="rect">
            <a:avLst/>
          </a:prstGeom>
        </p:spPr>
      </p:pic>
      <p:pic>
        <p:nvPicPr>
          <p:cNvPr id="6" name="Picture 5">
            <a:extLst>
              <a:ext uri="{FF2B5EF4-FFF2-40B4-BE49-F238E27FC236}">
                <a16:creationId xmlns:a16="http://schemas.microsoft.com/office/drawing/2014/main" id="{1A793B92-A931-D2E4-7DE2-B47B9FC020DA}"/>
              </a:ext>
            </a:extLst>
          </p:cNvPr>
          <p:cNvPicPr>
            <a:picLocks noChangeAspect="1"/>
          </p:cNvPicPr>
          <p:nvPr/>
        </p:nvPicPr>
        <p:blipFill>
          <a:blip r:embed="rId3"/>
          <a:stretch>
            <a:fillRect/>
          </a:stretch>
        </p:blipFill>
        <p:spPr>
          <a:xfrm>
            <a:off x="11692802" y="6356350"/>
            <a:ext cx="499198" cy="499198"/>
          </a:xfrm>
          <a:prstGeom prst="rect">
            <a:avLst/>
          </a:prstGeom>
        </p:spPr>
      </p:pic>
    </p:spTree>
    <p:extLst>
      <p:ext uri="{BB962C8B-B14F-4D97-AF65-F5344CB8AC3E}">
        <p14:creationId xmlns:p14="http://schemas.microsoft.com/office/powerpoint/2010/main" val="3255847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075BF-DF7E-E48B-5F9C-3EEFE21D255B}"/>
            </a:ext>
          </a:extLst>
        </p:cNvPr>
        <p:cNvGrpSpPr/>
        <p:nvPr/>
      </p:nvGrpSpPr>
      <p:grpSpPr>
        <a:xfrm>
          <a:off x="0" y="0"/>
          <a:ext cx="0" cy="0"/>
          <a:chOff x="0" y="0"/>
          <a:chExt cx="0" cy="0"/>
        </a:xfrm>
      </p:grpSpPr>
      <p:sp>
        <p:nvSpPr>
          <p:cNvPr id="27" name="Rectángulo redondeado 14">
            <a:extLst>
              <a:ext uri="{FF2B5EF4-FFF2-40B4-BE49-F238E27FC236}">
                <a16:creationId xmlns:a16="http://schemas.microsoft.com/office/drawing/2014/main" id="{9F91F272-A977-AC5B-5243-8162EFD53BFE}"/>
              </a:ext>
            </a:extLst>
          </p:cNvPr>
          <p:cNvSpPr/>
          <p:nvPr/>
        </p:nvSpPr>
        <p:spPr>
          <a:xfrm>
            <a:off x="1591823" y="-15598"/>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logo on a black background&#10;&#10;Description automatically generated">
            <a:extLst>
              <a:ext uri="{FF2B5EF4-FFF2-40B4-BE49-F238E27FC236}">
                <a16:creationId xmlns:a16="http://schemas.microsoft.com/office/drawing/2014/main" id="{BD5DEDDC-24F1-301D-288C-C7A5BAE719E2}"/>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9714"/>
          <a:stretch/>
        </p:blipFill>
        <p:spPr>
          <a:xfrm>
            <a:off x="1524000" y="-31860"/>
            <a:ext cx="5069888" cy="1490492"/>
          </a:xfrm>
          <a:prstGeom prst="rect">
            <a:avLst/>
          </a:prstGeom>
        </p:spPr>
      </p:pic>
      <p:graphicFrame>
        <p:nvGraphicFramePr>
          <p:cNvPr id="9" name="Object 8" hidden="1">
            <a:extLst>
              <a:ext uri="{FF2B5EF4-FFF2-40B4-BE49-F238E27FC236}">
                <a16:creationId xmlns:a16="http://schemas.microsoft.com/office/drawing/2014/main" id="{7A814782-08D5-0D89-C152-1CDF44A95E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7A814782-08D5-0D89-C152-1CDF44A95E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0C25AB35-20B4-E858-3CB2-F8B9B95D01B3}"/>
              </a:ext>
            </a:extLst>
          </p:cNvPr>
          <p:cNvGrpSpPr/>
          <p:nvPr/>
        </p:nvGrpSpPr>
        <p:grpSpPr>
          <a:xfrm>
            <a:off x="0" y="0"/>
            <a:ext cx="12192000" cy="6858000"/>
            <a:chOff x="0" y="0"/>
            <a:chExt cx="12192000" cy="6858000"/>
          </a:xfrm>
        </p:grpSpPr>
        <p:pic>
          <p:nvPicPr>
            <p:cNvPr id="12" name="Picture 11">
              <a:extLst>
                <a:ext uri="{FF2B5EF4-FFF2-40B4-BE49-F238E27FC236}">
                  <a16:creationId xmlns:a16="http://schemas.microsoft.com/office/drawing/2014/main" id="{BB329C02-5B26-B702-E651-918239C47CB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11" name="Picture 10" descr="Background pattern&#10;&#10;Description automatically generated">
              <a:extLst>
                <a:ext uri="{FF2B5EF4-FFF2-40B4-BE49-F238E27FC236}">
                  <a16:creationId xmlns:a16="http://schemas.microsoft.com/office/drawing/2014/main" id="{E6868D14-603D-A3A9-4B78-EF99A90249C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sp>
        <p:nvSpPr>
          <p:cNvPr id="19" name="Rectángulo 6175">
            <a:extLst>
              <a:ext uri="{FF2B5EF4-FFF2-40B4-BE49-F238E27FC236}">
                <a16:creationId xmlns:a16="http://schemas.microsoft.com/office/drawing/2014/main" id="{4E3370BF-9AA8-447E-14D6-9E477BCB148D}"/>
              </a:ext>
            </a:extLst>
          </p:cNvPr>
          <p:cNvSpPr/>
          <p:nvPr/>
        </p:nvSpPr>
        <p:spPr>
          <a:xfrm>
            <a:off x="0" y="4470400"/>
            <a:ext cx="12214702" cy="23876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任意多边形: 形状 16">
            <a:extLst>
              <a:ext uri="{FF2B5EF4-FFF2-40B4-BE49-F238E27FC236}">
                <a16:creationId xmlns:a16="http://schemas.microsoft.com/office/drawing/2014/main" id="{C509B9BE-8022-64D4-2D39-C99064E23011}"/>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D62332D3-61DD-181D-742C-560255840FC4}"/>
              </a:ext>
            </a:extLst>
          </p:cNvPr>
          <p:cNvSpPr/>
          <p:nvPr/>
        </p:nvSpPr>
        <p:spPr>
          <a:xfrm>
            <a:off x="9464634"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AD69CF89-A0C2-433A-72E1-01233FD1EEDC}"/>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67310EF1-BBEC-F8AC-2448-F26D9B5DD3B4}"/>
              </a:ext>
            </a:extLst>
          </p:cNvPr>
          <p:cNvSpPr>
            <a:spLocks noGrp="1"/>
          </p:cNvSpPr>
          <p:nvPr>
            <p:ph type="subTitle" idx="1"/>
          </p:nvPr>
        </p:nvSpPr>
        <p:spPr/>
        <p:txBody>
          <a:bodyPr/>
          <a:lstStyle/>
          <a:p>
            <a:endParaRPr lang="en-US"/>
          </a:p>
        </p:txBody>
      </p:sp>
      <p:sp>
        <p:nvSpPr>
          <p:cNvPr id="13" name="Rectángulo redondeado 14">
            <a:extLst>
              <a:ext uri="{FF2B5EF4-FFF2-40B4-BE49-F238E27FC236}">
                <a16:creationId xmlns:a16="http://schemas.microsoft.com/office/drawing/2014/main" id="{D95AD7F9-0FE6-D095-0893-9BF435DBB2C6}"/>
              </a:ext>
            </a:extLst>
          </p:cNvPr>
          <p:cNvSpPr/>
          <p:nvPr/>
        </p:nvSpPr>
        <p:spPr>
          <a:xfrm>
            <a:off x="834056" y="1089635"/>
            <a:ext cx="10523889" cy="4168165"/>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7E385CDB-708F-2032-D834-B6229B3FA4A2}"/>
              </a:ext>
            </a:extLst>
          </p:cNvPr>
          <p:cNvCxnSpPr>
            <a:cxnSpLocks/>
          </p:cNvCxnSpPr>
          <p:nvPr/>
        </p:nvCxnSpPr>
        <p:spPr>
          <a:xfrm>
            <a:off x="2742954" y="6035777"/>
            <a:ext cx="9471748"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56816DF-256C-EDB6-38F3-57B118A05D97}"/>
              </a:ext>
            </a:extLst>
          </p:cNvPr>
          <p:cNvCxnSpPr/>
          <p:nvPr/>
        </p:nvCxnSpPr>
        <p:spPr>
          <a:xfrm>
            <a:off x="1411654" y="1811788"/>
            <a:ext cx="9080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A5C6922-980B-D2C1-4811-1C9AA442F98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763566" y="423372"/>
            <a:ext cx="878993" cy="878993"/>
          </a:xfrm>
          <a:prstGeom prst="rect">
            <a:avLst/>
          </a:prstGeom>
        </p:spPr>
      </p:pic>
      <p:pic>
        <p:nvPicPr>
          <p:cNvPr id="6" name="Picture 5">
            <a:extLst>
              <a:ext uri="{FF2B5EF4-FFF2-40B4-BE49-F238E27FC236}">
                <a16:creationId xmlns:a16="http://schemas.microsoft.com/office/drawing/2014/main" id="{172974EC-FCDA-5AFB-AD34-FEFBBD483544}"/>
              </a:ext>
            </a:extLst>
          </p:cNvPr>
          <p:cNvPicPr>
            <a:picLocks noChangeAspect="1"/>
          </p:cNvPicPr>
          <p:nvPr/>
        </p:nvPicPr>
        <p:blipFill>
          <a:blip r:embed="rId9"/>
          <a:stretch>
            <a:fillRect/>
          </a:stretch>
        </p:blipFill>
        <p:spPr>
          <a:xfrm>
            <a:off x="0" y="-31860"/>
            <a:ext cx="12341732" cy="6942223"/>
          </a:xfrm>
          <a:prstGeom prst="rect">
            <a:avLst/>
          </a:prstGeom>
        </p:spPr>
      </p:pic>
    </p:spTree>
    <p:extLst>
      <p:ext uri="{BB962C8B-B14F-4D97-AF65-F5344CB8AC3E}">
        <p14:creationId xmlns:p14="http://schemas.microsoft.com/office/powerpoint/2010/main" val="1136635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16AA4-24ED-800F-8987-CA2151C471D8}"/>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FE33E73A-0612-ED47-53BD-779495B43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21" name="Object 20" hidden="1">
                        <a:extLst>
                          <a:ext uri="{FF2B5EF4-FFF2-40B4-BE49-F238E27FC236}">
                            <a16:creationId xmlns:a16="http://schemas.microsoft.com/office/drawing/2014/main" id="{FE33E73A-0612-ED47-53BD-779495B430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54386A60-9731-07E9-728C-D519DBF65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7" name="Freeform: Shape 86">
            <a:extLst>
              <a:ext uri="{FF2B5EF4-FFF2-40B4-BE49-F238E27FC236}">
                <a16:creationId xmlns:a16="http://schemas.microsoft.com/office/drawing/2014/main" id="{B46D43A1-E201-4B2D-9677-8AB316E8605C}"/>
              </a:ext>
            </a:extLst>
          </p:cNvPr>
          <p:cNvSpPr/>
          <p:nvPr/>
        </p:nvSpPr>
        <p:spPr>
          <a:xfrm rot="10800000" flipV="1">
            <a:off x="-19967" y="2630437"/>
            <a:ext cx="694731" cy="464457"/>
          </a:xfrm>
          <a:custGeom>
            <a:avLst/>
            <a:gdLst>
              <a:gd name="connsiteX0" fmla="*/ 694731 w 694731"/>
              <a:gd name="connsiteY0" fmla="*/ 0 h 464457"/>
              <a:gd name="connsiteX1" fmla="*/ 451057 w 694731"/>
              <a:gd name="connsiteY1" fmla="*/ 0 h 464457"/>
              <a:gd name="connsiteX2" fmla="*/ 451057 w 694731"/>
              <a:gd name="connsiteY2" fmla="*/ 111250 h 464457"/>
              <a:gd name="connsiteX3" fmla="*/ 255423 w 694731"/>
              <a:gd name="connsiteY3" fmla="*/ 111250 h 464457"/>
              <a:gd name="connsiteX4" fmla="*/ 255423 w 694731"/>
              <a:gd name="connsiteY4" fmla="*/ 0 h 464457"/>
              <a:gd name="connsiteX5" fmla="*/ 0 w 694731"/>
              <a:gd name="connsiteY5" fmla="*/ 0 h 464457"/>
              <a:gd name="connsiteX6" fmla="*/ 0 w 694731"/>
              <a:gd name="connsiteY6" fmla="*/ 464457 h 464457"/>
              <a:gd name="connsiteX7" fmla="*/ 694731 w 694731"/>
              <a:gd name="connsiteY7" fmla="*/ 464457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4731" h="464457">
                <a:moveTo>
                  <a:pt x="694731" y="0"/>
                </a:moveTo>
                <a:lnTo>
                  <a:pt x="451057" y="0"/>
                </a:lnTo>
                <a:lnTo>
                  <a:pt x="451057" y="111250"/>
                </a:lnTo>
                <a:lnTo>
                  <a:pt x="255423" y="111250"/>
                </a:lnTo>
                <a:lnTo>
                  <a:pt x="255423" y="0"/>
                </a:lnTo>
                <a:lnTo>
                  <a:pt x="0" y="0"/>
                </a:lnTo>
                <a:lnTo>
                  <a:pt x="0" y="464457"/>
                </a:lnTo>
                <a:lnTo>
                  <a:pt x="694731" y="46445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0" name="任意多边形: 形状 16">
            <a:extLst>
              <a:ext uri="{FF2B5EF4-FFF2-40B4-BE49-F238E27FC236}">
                <a16:creationId xmlns:a16="http://schemas.microsoft.com/office/drawing/2014/main" id="{61CE35C1-FFC3-A83E-13F0-61DC6B1F447D}"/>
              </a:ext>
            </a:extLst>
          </p:cNvPr>
          <p:cNvSpPr/>
          <p:nvPr/>
        </p:nvSpPr>
        <p:spPr>
          <a:xfrm rot="10800000" flipV="1">
            <a:off x="5765429"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任意多边形: 形状 16">
            <a:extLst>
              <a:ext uri="{FF2B5EF4-FFF2-40B4-BE49-F238E27FC236}">
                <a16:creationId xmlns:a16="http://schemas.microsoft.com/office/drawing/2014/main" id="{55981B62-9075-74B6-A6C6-AA09F733AF3E}"/>
              </a:ext>
            </a:extLst>
          </p:cNvPr>
          <p:cNvSpPr/>
          <p:nvPr/>
        </p:nvSpPr>
        <p:spPr>
          <a:xfrm rot="10800000" flipV="1">
            <a:off x="321120"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任意多边形: 形状 16">
            <a:extLst>
              <a:ext uri="{FF2B5EF4-FFF2-40B4-BE49-F238E27FC236}">
                <a16:creationId xmlns:a16="http://schemas.microsoft.com/office/drawing/2014/main" id="{D95DB006-5001-F4A7-A5DA-DF33623E29D7}"/>
              </a:ext>
            </a:extLst>
          </p:cNvPr>
          <p:cNvSpPr/>
          <p:nvPr/>
        </p:nvSpPr>
        <p:spPr>
          <a:xfrm rot="10800000" flipV="1">
            <a:off x="3064074"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任意多边形: 形状 16">
            <a:extLst>
              <a:ext uri="{FF2B5EF4-FFF2-40B4-BE49-F238E27FC236}">
                <a16:creationId xmlns:a16="http://schemas.microsoft.com/office/drawing/2014/main" id="{E98FC759-D851-81D1-8211-16B7213B81F4}"/>
              </a:ext>
            </a:extLst>
          </p:cNvPr>
          <p:cNvSpPr/>
          <p:nvPr/>
        </p:nvSpPr>
        <p:spPr>
          <a:xfrm rot="10800000" flipV="1">
            <a:off x="8508629"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Freeform: Shape 88">
            <a:extLst>
              <a:ext uri="{FF2B5EF4-FFF2-40B4-BE49-F238E27FC236}">
                <a16:creationId xmlns:a16="http://schemas.microsoft.com/office/drawing/2014/main" id="{F634EADB-4AEC-65F8-4B8F-4DC93E2F198F}"/>
              </a:ext>
            </a:extLst>
          </p:cNvPr>
          <p:cNvSpPr/>
          <p:nvPr/>
        </p:nvSpPr>
        <p:spPr>
          <a:xfrm rot="10800000" flipV="1">
            <a:off x="11239954" y="2626495"/>
            <a:ext cx="946182" cy="464457"/>
          </a:xfrm>
          <a:custGeom>
            <a:avLst/>
            <a:gdLst>
              <a:gd name="connsiteX0" fmla="*/ 849135 w 946182"/>
              <a:gd name="connsiteY0" fmla="*/ 0 h 464457"/>
              <a:gd name="connsiteX1" fmla="*/ 587352 w 946182"/>
              <a:gd name="connsiteY1" fmla="*/ 0 h 464457"/>
              <a:gd name="connsiteX2" fmla="*/ 587352 w 946182"/>
              <a:gd name="connsiteY2" fmla="*/ 111250 h 464457"/>
              <a:gd name="connsiteX3" fmla="*/ 391718 w 946182"/>
              <a:gd name="connsiteY3" fmla="*/ 111250 h 464457"/>
              <a:gd name="connsiteX4" fmla="*/ 391718 w 946182"/>
              <a:gd name="connsiteY4" fmla="*/ 0 h 464457"/>
              <a:gd name="connsiteX5" fmla="*/ 129937 w 946182"/>
              <a:gd name="connsiteY5" fmla="*/ 0 h 464457"/>
              <a:gd name="connsiteX6" fmla="*/ 129937 w 946182"/>
              <a:gd name="connsiteY6" fmla="*/ 111250 h 464457"/>
              <a:gd name="connsiteX7" fmla="*/ 0 w 946182"/>
              <a:gd name="connsiteY7" fmla="*/ 111250 h 464457"/>
              <a:gd name="connsiteX8" fmla="*/ 0 w 946182"/>
              <a:gd name="connsiteY8" fmla="*/ 464457 h 464457"/>
              <a:gd name="connsiteX9" fmla="*/ 946182 w 946182"/>
              <a:gd name="connsiteY9" fmla="*/ 464457 h 464457"/>
              <a:gd name="connsiteX10" fmla="*/ 946182 w 946182"/>
              <a:gd name="connsiteY10" fmla="*/ 111250 h 464457"/>
              <a:gd name="connsiteX11" fmla="*/ 849135 w 946182"/>
              <a:gd name="connsiteY11"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182" h="464457">
                <a:moveTo>
                  <a:pt x="849135" y="0"/>
                </a:moveTo>
                <a:lnTo>
                  <a:pt x="587352" y="0"/>
                </a:lnTo>
                <a:lnTo>
                  <a:pt x="587352" y="111250"/>
                </a:lnTo>
                <a:lnTo>
                  <a:pt x="391718" y="111250"/>
                </a:lnTo>
                <a:lnTo>
                  <a:pt x="391718" y="0"/>
                </a:lnTo>
                <a:lnTo>
                  <a:pt x="129937" y="0"/>
                </a:lnTo>
                <a:lnTo>
                  <a:pt x="129937" y="111250"/>
                </a:lnTo>
                <a:lnTo>
                  <a:pt x="0" y="111250"/>
                </a:lnTo>
                <a:lnTo>
                  <a:pt x="0" y="464457"/>
                </a:lnTo>
                <a:lnTo>
                  <a:pt x="946182" y="464457"/>
                </a:lnTo>
                <a:lnTo>
                  <a:pt x="946182" y="111250"/>
                </a:lnTo>
                <a:lnTo>
                  <a:pt x="849135" y="11125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8" name="任意多边形: 形状 16">
            <a:extLst>
              <a:ext uri="{FF2B5EF4-FFF2-40B4-BE49-F238E27FC236}">
                <a16:creationId xmlns:a16="http://schemas.microsoft.com/office/drawing/2014/main" id="{9F96512B-4AD8-DABF-E286-A304EBF57BAF}"/>
              </a:ext>
            </a:extLst>
          </p:cNvPr>
          <p:cNvSpPr/>
          <p:nvPr/>
        </p:nvSpPr>
        <p:spPr>
          <a:xfrm rot="10800000" flipV="1">
            <a:off x="5444309"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Rectángulo 6175">
            <a:extLst>
              <a:ext uri="{FF2B5EF4-FFF2-40B4-BE49-F238E27FC236}">
                <a16:creationId xmlns:a16="http://schemas.microsoft.com/office/drawing/2014/main" id="{86283EEB-BCB1-A0A3-AD5B-D423E8C37AA1}"/>
              </a:ext>
            </a:extLst>
          </p:cNvPr>
          <p:cNvSpPr/>
          <p:nvPr/>
        </p:nvSpPr>
        <p:spPr>
          <a:xfrm flipV="1">
            <a:off x="0" y="3206461"/>
            <a:ext cx="12214702" cy="3651537"/>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任意多边形: 形状 16">
            <a:extLst>
              <a:ext uri="{FF2B5EF4-FFF2-40B4-BE49-F238E27FC236}">
                <a16:creationId xmlns:a16="http://schemas.microsoft.com/office/drawing/2014/main" id="{A126609D-80D7-3F7C-8D62-180C0A55A5E6}"/>
              </a:ext>
            </a:extLst>
          </p:cNvPr>
          <p:cNvSpPr/>
          <p:nvPr/>
        </p:nvSpPr>
        <p:spPr>
          <a:xfrm rot="10800000" flipV="1">
            <a:off x="0"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2CE2169A-9C14-CEF9-F907-EB471E779B8E}"/>
              </a:ext>
            </a:extLst>
          </p:cNvPr>
          <p:cNvSpPr>
            <a:spLocks noGrp="1"/>
          </p:cNvSpPr>
          <p:nvPr>
            <p:ph type="title"/>
          </p:nvPr>
        </p:nvSpPr>
        <p:spPr>
          <a:xfrm>
            <a:off x="564241" y="365126"/>
            <a:ext cx="11063515" cy="991614"/>
          </a:xfrm>
        </p:spPr>
        <p:txBody>
          <a:bodyPr/>
          <a:lstStyle/>
          <a:p>
            <a:r>
              <a:rPr lang="en-US" b="1">
                <a:solidFill>
                  <a:schemeClr val="tx1">
                    <a:lumMod val="75000"/>
                    <a:lumOff val="25000"/>
                  </a:schemeClr>
                </a:solidFill>
                <a:latin typeface="Segoe UI" panose="020B0502040204020203" pitchFamily="34" charset="0"/>
                <a:cs typeface="Segoe UI" panose="020B0502040204020203" pitchFamily="34" charset="0"/>
              </a:rPr>
              <a:t>Strategies for Scaling and Management</a:t>
            </a:r>
            <a:endParaRPr lang="en-US">
              <a:solidFill>
                <a:schemeClr val="tx1">
                  <a:lumMod val="75000"/>
                  <a:lumOff val="25000"/>
                </a:schemeClr>
              </a:solidFill>
            </a:endParaRPr>
          </a:p>
        </p:txBody>
      </p:sp>
      <p:sp>
        <p:nvSpPr>
          <p:cNvPr id="43" name="任意多边形: 形状 16">
            <a:extLst>
              <a:ext uri="{FF2B5EF4-FFF2-40B4-BE49-F238E27FC236}">
                <a16:creationId xmlns:a16="http://schemas.microsoft.com/office/drawing/2014/main" id="{4B6C1C1F-B9A3-F0AD-4021-A6CFA820ABD7}"/>
              </a:ext>
            </a:extLst>
          </p:cNvPr>
          <p:cNvSpPr/>
          <p:nvPr/>
        </p:nvSpPr>
        <p:spPr>
          <a:xfrm rot="10800000" flipV="1">
            <a:off x="2742954"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形状 16">
            <a:extLst>
              <a:ext uri="{FF2B5EF4-FFF2-40B4-BE49-F238E27FC236}">
                <a16:creationId xmlns:a16="http://schemas.microsoft.com/office/drawing/2014/main" id="{F888637A-104E-BD7A-4ADD-1D110F9D1246}"/>
              </a:ext>
            </a:extLst>
          </p:cNvPr>
          <p:cNvSpPr/>
          <p:nvPr/>
        </p:nvSpPr>
        <p:spPr>
          <a:xfrm rot="10800000" flipV="1">
            <a:off x="5441451" y="312530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任意多边形: 形状 16">
            <a:extLst>
              <a:ext uri="{FF2B5EF4-FFF2-40B4-BE49-F238E27FC236}">
                <a16:creationId xmlns:a16="http://schemas.microsoft.com/office/drawing/2014/main" id="{7C4FC95F-DD4D-D05E-8D94-D73F8E593343}"/>
              </a:ext>
            </a:extLst>
          </p:cNvPr>
          <p:cNvSpPr/>
          <p:nvPr/>
        </p:nvSpPr>
        <p:spPr>
          <a:xfrm rot="10800000" flipV="1">
            <a:off x="8187509"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8" name="Picture 47" descr="A picture containing toy, holding, hand, sitting&#10;&#10;Description automatically generated">
            <a:extLst>
              <a:ext uri="{FF2B5EF4-FFF2-40B4-BE49-F238E27FC236}">
                <a16:creationId xmlns:a16="http://schemas.microsoft.com/office/drawing/2014/main" id="{0366BB4E-0606-1550-40AD-A6B82202F95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15273" y="2366406"/>
            <a:ext cx="1423113" cy="1505673"/>
          </a:xfrm>
          <a:custGeom>
            <a:avLst/>
            <a:gdLst>
              <a:gd name="connsiteX0" fmla="*/ 0 w 2329921"/>
              <a:gd name="connsiteY0" fmla="*/ 0 h 2465089"/>
              <a:gd name="connsiteX1" fmla="*/ 2329921 w 2329921"/>
              <a:gd name="connsiteY1" fmla="*/ 0 h 2465089"/>
              <a:gd name="connsiteX2" fmla="*/ 2329921 w 2329921"/>
              <a:gd name="connsiteY2" fmla="*/ 2465089 h 2465089"/>
              <a:gd name="connsiteX3" fmla="*/ 1233769 w 2329921"/>
              <a:gd name="connsiteY3" fmla="*/ 2465089 h 2465089"/>
              <a:gd name="connsiteX4" fmla="*/ 1265313 w 2329921"/>
              <a:gd name="connsiteY4" fmla="*/ 2356487 h 2465089"/>
              <a:gd name="connsiteX5" fmla="*/ 573271 w 2329921"/>
              <a:gd name="connsiteY5" fmla="*/ 2155477 h 2465089"/>
              <a:gd name="connsiteX6" fmla="*/ 498157 w 2329921"/>
              <a:gd name="connsiteY6" fmla="*/ 2414081 h 2465089"/>
              <a:gd name="connsiteX7" fmla="*/ 673769 w 2329921"/>
              <a:gd name="connsiteY7" fmla="*/ 2465089 h 2465089"/>
              <a:gd name="connsiteX8" fmla="*/ 0 w 2329921"/>
              <a:gd name="connsiteY8" fmla="*/ 2465089 h 246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9921" h="2465089">
                <a:moveTo>
                  <a:pt x="0" y="0"/>
                </a:moveTo>
                <a:lnTo>
                  <a:pt x="2329921" y="0"/>
                </a:lnTo>
                <a:lnTo>
                  <a:pt x="2329921" y="2465089"/>
                </a:lnTo>
                <a:lnTo>
                  <a:pt x="1233769" y="2465089"/>
                </a:lnTo>
                <a:lnTo>
                  <a:pt x="1265313" y="2356487"/>
                </a:lnTo>
                <a:lnTo>
                  <a:pt x="573271" y="2155477"/>
                </a:lnTo>
                <a:lnTo>
                  <a:pt x="498157" y="2414081"/>
                </a:lnTo>
                <a:lnTo>
                  <a:pt x="673769" y="2465089"/>
                </a:lnTo>
                <a:lnTo>
                  <a:pt x="0" y="2465089"/>
                </a:lnTo>
                <a:close/>
              </a:path>
            </a:pathLst>
          </a:custGeom>
          <a:effectLst>
            <a:outerShdw dist="63500" dir="2700000" algn="tl" rotWithShape="0">
              <a:prstClr val="black">
                <a:alpha val="20000"/>
              </a:prstClr>
            </a:outerShdw>
          </a:effectLst>
        </p:spPr>
      </p:pic>
      <p:sp>
        <p:nvSpPr>
          <p:cNvPr id="42" name="Freeform: Shape 41">
            <a:extLst>
              <a:ext uri="{FF2B5EF4-FFF2-40B4-BE49-F238E27FC236}">
                <a16:creationId xmlns:a16="http://schemas.microsoft.com/office/drawing/2014/main" id="{B07FBA5B-1509-53DE-1A41-62CAD2EAE391}"/>
              </a:ext>
            </a:extLst>
          </p:cNvPr>
          <p:cNvSpPr/>
          <p:nvPr/>
        </p:nvSpPr>
        <p:spPr>
          <a:xfrm rot="10800000" flipV="1">
            <a:off x="10918834" y="281650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Oval 4">
            <a:extLst>
              <a:ext uri="{FF2B5EF4-FFF2-40B4-BE49-F238E27FC236}">
                <a16:creationId xmlns:a16="http://schemas.microsoft.com/office/drawing/2014/main" id="{A4DFB4CC-4682-156F-D3F2-BA025404DAE6}"/>
              </a:ext>
            </a:extLst>
          </p:cNvPr>
          <p:cNvSpPr/>
          <p:nvPr/>
        </p:nvSpPr>
        <p:spPr>
          <a:xfrm>
            <a:off x="4258541" y="1606206"/>
            <a:ext cx="3674916" cy="3674916"/>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Arc 21">
            <a:extLst>
              <a:ext uri="{FF2B5EF4-FFF2-40B4-BE49-F238E27FC236}">
                <a16:creationId xmlns:a16="http://schemas.microsoft.com/office/drawing/2014/main" id="{EEA537AD-BD36-D987-A603-578FF24977EA}"/>
              </a:ext>
            </a:extLst>
          </p:cNvPr>
          <p:cNvSpPr/>
          <p:nvPr/>
        </p:nvSpPr>
        <p:spPr>
          <a:xfrm>
            <a:off x="4417853" y="1765518"/>
            <a:ext cx="3356292" cy="3356292"/>
          </a:xfrm>
          <a:prstGeom prst="arc">
            <a:avLst>
              <a:gd name="adj1" fmla="val 13787735"/>
              <a:gd name="adj2" fmla="val 13601526"/>
            </a:avLst>
          </a:prstGeom>
          <a:ln>
            <a:solidFill>
              <a:schemeClr val="bg1"/>
            </a:solidFill>
            <a:prstDash val="lgDash"/>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14">
            <a:extLst>
              <a:ext uri="{FF2B5EF4-FFF2-40B4-BE49-F238E27FC236}">
                <a16:creationId xmlns:a16="http://schemas.microsoft.com/office/drawing/2014/main" id="{DAE427E8-BBF7-3A45-F9E0-1D772E3EA11C}"/>
              </a:ext>
            </a:extLst>
          </p:cNvPr>
          <p:cNvSpPr/>
          <p:nvPr/>
        </p:nvSpPr>
        <p:spPr>
          <a:xfrm>
            <a:off x="4690913"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FA910E83-8D08-5D0A-9ABB-A33E40FB5D44}"/>
              </a:ext>
            </a:extLst>
          </p:cNvPr>
          <p:cNvSpPr/>
          <p:nvPr/>
        </p:nvSpPr>
        <p:spPr>
          <a:xfrm>
            <a:off x="4818168"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3AFCED87-8DCC-A02C-973F-8626D3C1049F}"/>
              </a:ext>
            </a:extLst>
          </p:cNvPr>
          <p:cNvSpPr txBox="1">
            <a:spLocks/>
          </p:cNvSpPr>
          <p:nvPr/>
        </p:nvSpPr>
        <p:spPr>
          <a:xfrm>
            <a:off x="7768194" y="1625386"/>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Right sized Logic Apps</a:t>
            </a:r>
          </a:p>
        </p:txBody>
      </p:sp>
      <p:sp>
        <p:nvSpPr>
          <p:cNvPr id="28" name="Title 1">
            <a:extLst>
              <a:ext uri="{FF2B5EF4-FFF2-40B4-BE49-F238E27FC236}">
                <a16:creationId xmlns:a16="http://schemas.microsoft.com/office/drawing/2014/main" id="{431A1A9C-E41E-F39B-4D0E-0E2BACD8CCC7}"/>
              </a:ext>
            </a:extLst>
          </p:cNvPr>
          <p:cNvSpPr txBox="1">
            <a:spLocks/>
          </p:cNvSpPr>
          <p:nvPr/>
        </p:nvSpPr>
        <p:spPr>
          <a:xfrm>
            <a:off x="3069055" y="1421461"/>
            <a:ext cx="1553146" cy="989489"/>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Resource Manager (ARM) templates</a:t>
            </a:r>
          </a:p>
        </p:txBody>
      </p:sp>
      <p:sp>
        <p:nvSpPr>
          <p:cNvPr id="52" name="Rectangle 51">
            <a:extLst>
              <a:ext uri="{FF2B5EF4-FFF2-40B4-BE49-F238E27FC236}">
                <a16:creationId xmlns:a16="http://schemas.microsoft.com/office/drawing/2014/main" id="{3DFB95A7-6BD6-4977-97BA-B25623946164}"/>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738E672E-3D09-3AB2-C1C0-D6172D224118}"/>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lide Number Placeholder 5">
            <a:extLst>
              <a:ext uri="{FF2B5EF4-FFF2-40B4-BE49-F238E27FC236}">
                <a16:creationId xmlns:a16="http://schemas.microsoft.com/office/drawing/2014/main" id="{A805C4EC-5D45-FE02-903C-CE2D46330A0B}"/>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40</a:t>
            </a:fld>
            <a:endParaRPr lang="en-US"/>
          </a:p>
        </p:txBody>
      </p:sp>
      <p:sp>
        <p:nvSpPr>
          <p:cNvPr id="56" name="Oval 55">
            <a:extLst>
              <a:ext uri="{FF2B5EF4-FFF2-40B4-BE49-F238E27FC236}">
                <a16:creationId xmlns:a16="http://schemas.microsoft.com/office/drawing/2014/main" id="{EB31E8B3-51E3-24DA-C5A7-572891933C41}"/>
              </a:ext>
            </a:extLst>
          </p:cNvPr>
          <p:cNvSpPr/>
          <p:nvPr/>
        </p:nvSpPr>
        <p:spPr>
          <a:xfrm>
            <a:off x="3919362"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F0DAE835-38B5-27C7-EE19-6AB8920C7240}"/>
              </a:ext>
            </a:extLst>
          </p:cNvPr>
          <p:cNvSpPr/>
          <p:nvPr/>
        </p:nvSpPr>
        <p:spPr>
          <a:xfrm>
            <a:off x="4046617"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BE420803-ED6A-AEBD-53F9-DC15CBF85836}"/>
              </a:ext>
            </a:extLst>
          </p:cNvPr>
          <p:cNvSpPr/>
          <p:nvPr/>
        </p:nvSpPr>
        <p:spPr>
          <a:xfrm>
            <a:off x="4690913"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AA2221EC-7EA1-0D66-93CE-F68681830423}"/>
              </a:ext>
            </a:extLst>
          </p:cNvPr>
          <p:cNvSpPr/>
          <p:nvPr/>
        </p:nvSpPr>
        <p:spPr>
          <a:xfrm>
            <a:off x="4818168"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0718174E-0707-436F-4E90-C1F9C9801956}"/>
              </a:ext>
            </a:extLst>
          </p:cNvPr>
          <p:cNvSpPr/>
          <p:nvPr/>
        </p:nvSpPr>
        <p:spPr>
          <a:xfrm>
            <a:off x="6738060"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52060DA4-60CA-C2D6-A322-D8755583915D}"/>
              </a:ext>
            </a:extLst>
          </p:cNvPr>
          <p:cNvSpPr/>
          <p:nvPr/>
        </p:nvSpPr>
        <p:spPr>
          <a:xfrm>
            <a:off x="6865315"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2102985B-45AF-D21A-2D56-B0B9E3B69114}"/>
              </a:ext>
            </a:extLst>
          </p:cNvPr>
          <p:cNvSpPr/>
          <p:nvPr/>
        </p:nvSpPr>
        <p:spPr>
          <a:xfrm>
            <a:off x="6738060"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22051D20-A7AE-4C78-8E6A-B0875C586FBD}"/>
              </a:ext>
            </a:extLst>
          </p:cNvPr>
          <p:cNvSpPr/>
          <p:nvPr/>
        </p:nvSpPr>
        <p:spPr>
          <a:xfrm>
            <a:off x="6865315"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29376C65-F643-65E4-AC37-17DD572D3C4E}"/>
              </a:ext>
            </a:extLst>
          </p:cNvPr>
          <p:cNvSpPr/>
          <p:nvPr/>
        </p:nvSpPr>
        <p:spPr>
          <a:xfrm>
            <a:off x="7469730"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CAB9A227-9D43-BA37-9164-865EEB813E35}"/>
              </a:ext>
            </a:extLst>
          </p:cNvPr>
          <p:cNvSpPr/>
          <p:nvPr/>
        </p:nvSpPr>
        <p:spPr>
          <a:xfrm>
            <a:off x="7596985"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itle 1">
            <a:extLst>
              <a:ext uri="{FF2B5EF4-FFF2-40B4-BE49-F238E27FC236}">
                <a16:creationId xmlns:a16="http://schemas.microsoft.com/office/drawing/2014/main" id="{320623FE-98AF-A86A-E10C-C5D2FA6D3111}"/>
              </a:ext>
            </a:extLst>
          </p:cNvPr>
          <p:cNvSpPr txBox="1">
            <a:spLocks/>
          </p:cNvSpPr>
          <p:nvPr/>
        </p:nvSpPr>
        <p:spPr>
          <a:xfrm>
            <a:off x="8374537" y="3089010"/>
            <a:ext cx="1143698" cy="767291"/>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Key Vault</a:t>
            </a:r>
          </a:p>
        </p:txBody>
      </p:sp>
      <p:sp>
        <p:nvSpPr>
          <p:cNvPr id="71" name="Title 1">
            <a:extLst>
              <a:ext uri="{FF2B5EF4-FFF2-40B4-BE49-F238E27FC236}">
                <a16:creationId xmlns:a16="http://schemas.microsoft.com/office/drawing/2014/main" id="{1FCC7D6B-D9F8-4D5D-C346-3FA67592DD08}"/>
              </a:ext>
            </a:extLst>
          </p:cNvPr>
          <p:cNvSpPr txBox="1">
            <a:spLocks/>
          </p:cNvSpPr>
          <p:nvPr/>
        </p:nvSpPr>
        <p:spPr>
          <a:xfrm>
            <a:off x="2542683" y="2972793"/>
            <a:ext cx="1200218" cy="83893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Monitor</a:t>
            </a:r>
          </a:p>
        </p:txBody>
      </p:sp>
      <p:sp>
        <p:nvSpPr>
          <p:cNvPr id="74" name="Title 1">
            <a:extLst>
              <a:ext uri="{FF2B5EF4-FFF2-40B4-BE49-F238E27FC236}">
                <a16:creationId xmlns:a16="http://schemas.microsoft.com/office/drawing/2014/main" id="{F1374471-6277-4EF9-A0BA-F56489B20657}"/>
              </a:ext>
            </a:extLst>
          </p:cNvPr>
          <p:cNvSpPr txBox="1">
            <a:spLocks/>
          </p:cNvSpPr>
          <p:nvPr/>
        </p:nvSpPr>
        <p:spPr>
          <a:xfrm>
            <a:off x="7801921" y="4581339"/>
            <a:ext cx="1353951" cy="55642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DevOps</a:t>
            </a:r>
          </a:p>
        </p:txBody>
      </p:sp>
      <p:sp>
        <p:nvSpPr>
          <p:cNvPr id="75" name="Title 1">
            <a:extLst>
              <a:ext uri="{FF2B5EF4-FFF2-40B4-BE49-F238E27FC236}">
                <a16:creationId xmlns:a16="http://schemas.microsoft.com/office/drawing/2014/main" id="{1B4F5731-C739-D325-5A2B-6A7F4AA4FF09}"/>
              </a:ext>
            </a:extLst>
          </p:cNvPr>
          <p:cNvSpPr txBox="1">
            <a:spLocks/>
          </p:cNvSpPr>
          <p:nvPr/>
        </p:nvSpPr>
        <p:spPr>
          <a:xfrm>
            <a:off x="2943416" y="4562786"/>
            <a:ext cx="1558181" cy="59352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zure Resource Manager (ARM) policies</a:t>
            </a:r>
          </a:p>
        </p:txBody>
      </p:sp>
      <p:sp>
        <p:nvSpPr>
          <p:cNvPr id="79" name="Title 1">
            <a:extLst>
              <a:ext uri="{FF2B5EF4-FFF2-40B4-BE49-F238E27FC236}">
                <a16:creationId xmlns:a16="http://schemas.microsoft.com/office/drawing/2014/main" id="{4F47E4D5-8463-2B95-2340-6B0C36BF8124}"/>
              </a:ext>
            </a:extLst>
          </p:cNvPr>
          <p:cNvSpPr txBox="1">
            <a:spLocks/>
          </p:cNvSpPr>
          <p:nvPr/>
        </p:nvSpPr>
        <p:spPr>
          <a:xfrm>
            <a:off x="564241" y="5692731"/>
            <a:ext cx="11120213" cy="440230"/>
          </a:xfrm>
          <a:prstGeom prst="roundRect">
            <a:avLst>
              <a:gd name="adj" fmla="val 50000"/>
            </a:avLst>
          </a:prstGeom>
          <a:solidFill>
            <a:schemeClr val="bg1"/>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valuating the current scale is important, evaluating the next 5-10 years of growth is </a:t>
            </a:r>
            <a:r>
              <a:rPr lang="en-US" sz="1800" b="1" err="1">
                <a:solidFill>
                  <a:schemeClr val="tx1">
                    <a:lumMod val="75000"/>
                    <a:lumOff val="25000"/>
                  </a:schemeClr>
                </a:solidFill>
                <a:latin typeface="Segoe UI" panose="020B0502040204020203" pitchFamily="34" charset="0"/>
                <a:cs typeface="Segoe UI" panose="020B0502040204020203" pitchFamily="34" charset="0"/>
              </a:rPr>
              <a:t>importanter</a:t>
            </a:r>
            <a:endParaRPr lang="en-US" sz="1800" b="1">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90" name="Group 89">
            <a:extLst>
              <a:ext uri="{FF2B5EF4-FFF2-40B4-BE49-F238E27FC236}">
                <a16:creationId xmlns:a16="http://schemas.microsoft.com/office/drawing/2014/main" id="{865B615C-6B1B-BDE4-F6B4-DD2F12A06DD1}"/>
              </a:ext>
            </a:extLst>
          </p:cNvPr>
          <p:cNvGrpSpPr/>
          <p:nvPr/>
        </p:nvGrpSpPr>
        <p:grpSpPr>
          <a:xfrm>
            <a:off x="4942108" y="4745144"/>
            <a:ext cx="300516" cy="284604"/>
            <a:chOff x="2805113" y="2247901"/>
            <a:chExt cx="779462" cy="738188"/>
          </a:xfrm>
          <a:effectLst>
            <a:outerShdw dist="38100" dir="2700000" algn="tl" rotWithShape="0">
              <a:prstClr val="black">
                <a:alpha val="20000"/>
              </a:prstClr>
            </a:outerShdw>
          </a:effectLst>
        </p:grpSpPr>
        <p:sp>
          <p:nvSpPr>
            <p:cNvPr id="92" name="Freeform 78">
              <a:extLst>
                <a:ext uri="{FF2B5EF4-FFF2-40B4-BE49-F238E27FC236}">
                  <a16:creationId xmlns:a16="http://schemas.microsoft.com/office/drawing/2014/main" id="{9C3C6A5D-C42E-EA94-FFE1-EF26D276BBC7}"/>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79">
              <a:extLst>
                <a:ext uri="{FF2B5EF4-FFF2-40B4-BE49-F238E27FC236}">
                  <a16:creationId xmlns:a16="http://schemas.microsoft.com/office/drawing/2014/main" id="{8D1CA8E7-C42E-19D6-7E56-B8025656D52E}"/>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80">
              <a:extLst>
                <a:ext uri="{FF2B5EF4-FFF2-40B4-BE49-F238E27FC236}">
                  <a16:creationId xmlns:a16="http://schemas.microsoft.com/office/drawing/2014/main" id="{006A1DC0-1687-6AD8-CC1F-DE2D87561D75}"/>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81">
              <a:extLst>
                <a:ext uri="{FF2B5EF4-FFF2-40B4-BE49-F238E27FC236}">
                  <a16:creationId xmlns:a16="http://schemas.microsoft.com/office/drawing/2014/main" id="{63E0E16B-ED02-5A73-7484-F00CD38F7257}"/>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82">
              <a:extLst>
                <a:ext uri="{FF2B5EF4-FFF2-40B4-BE49-F238E27FC236}">
                  <a16:creationId xmlns:a16="http://schemas.microsoft.com/office/drawing/2014/main" id="{CEF9BC15-17FD-B294-57B8-16A713A4716D}"/>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83">
              <a:extLst>
                <a:ext uri="{FF2B5EF4-FFF2-40B4-BE49-F238E27FC236}">
                  <a16:creationId xmlns:a16="http://schemas.microsoft.com/office/drawing/2014/main" id="{23798E88-9B58-3E20-6E42-7EA85AE02D9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84">
              <a:extLst>
                <a:ext uri="{FF2B5EF4-FFF2-40B4-BE49-F238E27FC236}">
                  <a16:creationId xmlns:a16="http://schemas.microsoft.com/office/drawing/2014/main" id="{E31C170B-48A2-761A-A304-6C8391C39F18}"/>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85">
              <a:extLst>
                <a:ext uri="{FF2B5EF4-FFF2-40B4-BE49-F238E27FC236}">
                  <a16:creationId xmlns:a16="http://schemas.microsoft.com/office/drawing/2014/main" id="{DAABCE0C-5A30-E34E-F4FA-2FBD2A12D70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86">
              <a:extLst>
                <a:ext uri="{FF2B5EF4-FFF2-40B4-BE49-F238E27FC236}">
                  <a16:creationId xmlns:a16="http://schemas.microsoft.com/office/drawing/2014/main" id="{40B8A4AD-CF7A-3FD2-E75E-6DD9AE92F930}"/>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87">
              <a:extLst>
                <a:ext uri="{FF2B5EF4-FFF2-40B4-BE49-F238E27FC236}">
                  <a16:creationId xmlns:a16="http://schemas.microsoft.com/office/drawing/2014/main" id="{8C870707-F156-8795-7486-42CCBDB09887}"/>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88">
              <a:extLst>
                <a:ext uri="{FF2B5EF4-FFF2-40B4-BE49-F238E27FC236}">
                  <a16:creationId xmlns:a16="http://schemas.microsoft.com/office/drawing/2014/main" id="{F42FA376-38E4-9244-DAD2-A45689D0E30D}"/>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89">
              <a:extLst>
                <a:ext uri="{FF2B5EF4-FFF2-40B4-BE49-F238E27FC236}">
                  <a16:creationId xmlns:a16="http://schemas.microsoft.com/office/drawing/2014/main" id="{5CF7AF5D-DA9C-0F56-92E7-6B65C43C0955}"/>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4" name="Group 103">
            <a:extLst>
              <a:ext uri="{FF2B5EF4-FFF2-40B4-BE49-F238E27FC236}">
                <a16:creationId xmlns:a16="http://schemas.microsoft.com/office/drawing/2014/main" id="{20771018-D429-C88D-943D-2813578F4CB3}"/>
              </a:ext>
            </a:extLst>
          </p:cNvPr>
          <p:cNvGrpSpPr/>
          <p:nvPr/>
        </p:nvGrpSpPr>
        <p:grpSpPr>
          <a:xfrm>
            <a:off x="7722149" y="3294630"/>
            <a:ext cx="298068" cy="298068"/>
            <a:chOff x="10375900" y="3867150"/>
            <a:chExt cx="773113" cy="773113"/>
          </a:xfrm>
          <a:effectLst>
            <a:outerShdw dist="38100" dir="2700000" algn="tl" rotWithShape="0">
              <a:prstClr val="black">
                <a:alpha val="20000"/>
              </a:prstClr>
            </a:outerShdw>
          </a:effectLst>
        </p:grpSpPr>
        <p:sp>
          <p:nvSpPr>
            <p:cNvPr id="106" name="Freeform 132">
              <a:extLst>
                <a:ext uri="{FF2B5EF4-FFF2-40B4-BE49-F238E27FC236}">
                  <a16:creationId xmlns:a16="http://schemas.microsoft.com/office/drawing/2014/main" id="{6FC3ED9E-CD63-295F-383E-28D62C6DA56B}"/>
                </a:ext>
              </a:extLst>
            </p:cNvPr>
            <p:cNvSpPr>
              <a:spLocks noEditPoints="1"/>
            </p:cNvSpPr>
            <p:nvPr/>
          </p:nvSpPr>
          <p:spPr bwMode="auto">
            <a:xfrm>
              <a:off x="10375900" y="3867150"/>
              <a:ext cx="773113" cy="773113"/>
            </a:xfrm>
            <a:custGeom>
              <a:avLst/>
              <a:gdLst>
                <a:gd name="T0" fmla="*/ 78 w 204"/>
                <a:gd name="T1" fmla="*/ 170 h 204"/>
                <a:gd name="T2" fmla="*/ 73 w 204"/>
                <a:gd name="T3" fmla="*/ 177 h 204"/>
                <a:gd name="T4" fmla="*/ 38 w 204"/>
                <a:gd name="T5" fmla="*/ 169 h 204"/>
                <a:gd name="T6" fmla="*/ 31 w 204"/>
                <a:gd name="T7" fmla="*/ 135 h 204"/>
                <a:gd name="T8" fmla="*/ 37 w 204"/>
                <a:gd name="T9" fmla="*/ 129 h 204"/>
                <a:gd name="T10" fmla="*/ 46 w 204"/>
                <a:gd name="T11" fmla="*/ 131 h 204"/>
                <a:gd name="T12" fmla="*/ 76 w 204"/>
                <a:gd name="T13" fmla="*/ 161 h 204"/>
                <a:gd name="T14" fmla="*/ 78 w 204"/>
                <a:gd name="T15" fmla="*/ 170 h 204"/>
                <a:gd name="T16" fmla="*/ 166 w 204"/>
                <a:gd name="T17" fmla="*/ 0 h 204"/>
                <a:gd name="T18" fmla="*/ 85 w 204"/>
                <a:gd name="T19" fmla="*/ 80 h 204"/>
                <a:gd name="T20" fmla="*/ 64 w 204"/>
                <a:gd name="T21" fmla="*/ 76 h 204"/>
                <a:gd name="T22" fmla="*/ 0 w 204"/>
                <a:gd name="T23" fmla="*/ 140 h 204"/>
                <a:gd name="T24" fmla="*/ 64 w 204"/>
                <a:gd name="T25" fmla="*/ 204 h 204"/>
                <a:gd name="T26" fmla="*/ 128 w 204"/>
                <a:gd name="T27" fmla="*/ 140 h 204"/>
                <a:gd name="T28" fmla="*/ 124 w 204"/>
                <a:gd name="T29" fmla="*/ 119 h 204"/>
                <a:gd name="T30" fmla="*/ 128 w 204"/>
                <a:gd name="T31" fmla="*/ 115 h 204"/>
                <a:gd name="T32" fmla="*/ 128 w 204"/>
                <a:gd name="T33" fmla="*/ 89 h 204"/>
                <a:gd name="T34" fmla="*/ 153 w 204"/>
                <a:gd name="T35" fmla="*/ 89 h 204"/>
                <a:gd name="T36" fmla="*/ 153 w 204"/>
                <a:gd name="T37" fmla="*/ 64 h 204"/>
                <a:gd name="T38" fmla="*/ 179 w 204"/>
                <a:gd name="T39" fmla="*/ 64 h 204"/>
                <a:gd name="T40" fmla="*/ 179 w 204"/>
                <a:gd name="T41" fmla="*/ 38 h 204"/>
                <a:gd name="T42" fmla="*/ 204 w 204"/>
                <a:gd name="T43" fmla="*/ 38 h 204"/>
                <a:gd name="T44" fmla="*/ 204 w 204"/>
                <a:gd name="T45" fmla="*/ 0 h 204"/>
                <a:gd name="T46" fmla="*/ 166 w 204"/>
                <a:gd name="T4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204">
                  <a:moveTo>
                    <a:pt x="78" y="170"/>
                  </a:moveTo>
                  <a:cubicBezTo>
                    <a:pt x="78" y="173"/>
                    <a:pt x="76" y="175"/>
                    <a:pt x="73" y="177"/>
                  </a:cubicBezTo>
                  <a:cubicBezTo>
                    <a:pt x="61" y="181"/>
                    <a:pt x="47" y="179"/>
                    <a:pt x="38" y="169"/>
                  </a:cubicBezTo>
                  <a:cubicBezTo>
                    <a:pt x="29" y="160"/>
                    <a:pt x="26" y="146"/>
                    <a:pt x="31" y="135"/>
                  </a:cubicBezTo>
                  <a:cubicBezTo>
                    <a:pt x="32" y="132"/>
                    <a:pt x="34" y="130"/>
                    <a:pt x="37" y="129"/>
                  </a:cubicBezTo>
                  <a:cubicBezTo>
                    <a:pt x="40" y="128"/>
                    <a:pt x="44" y="129"/>
                    <a:pt x="46" y="131"/>
                  </a:cubicBezTo>
                  <a:cubicBezTo>
                    <a:pt x="76" y="161"/>
                    <a:pt x="76" y="161"/>
                    <a:pt x="76" y="161"/>
                  </a:cubicBezTo>
                  <a:cubicBezTo>
                    <a:pt x="78" y="164"/>
                    <a:pt x="79" y="167"/>
                    <a:pt x="78" y="170"/>
                  </a:cubicBezTo>
                  <a:close/>
                  <a:moveTo>
                    <a:pt x="166" y="0"/>
                  </a:moveTo>
                  <a:cubicBezTo>
                    <a:pt x="85" y="80"/>
                    <a:pt x="85" y="80"/>
                    <a:pt x="85" y="80"/>
                  </a:cubicBezTo>
                  <a:cubicBezTo>
                    <a:pt x="79" y="78"/>
                    <a:pt x="71" y="76"/>
                    <a:pt x="64" y="76"/>
                  </a:cubicBezTo>
                  <a:cubicBezTo>
                    <a:pt x="28" y="76"/>
                    <a:pt x="0" y="105"/>
                    <a:pt x="0" y="140"/>
                  </a:cubicBezTo>
                  <a:cubicBezTo>
                    <a:pt x="0" y="176"/>
                    <a:pt x="28" y="204"/>
                    <a:pt x="64" y="204"/>
                  </a:cubicBezTo>
                  <a:cubicBezTo>
                    <a:pt x="99" y="204"/>
                    <a:pt x="128" y="176"/>
                    <a:pt x="128" y="140"/>
                  </a:cubicBezTo>
                  <a:cubicBezTo>
                    <a:pt x="128" y="133"/>
                    <a:pt x="126" y="125"/>
                    <a:pt x="124" y="119"/>
                  </a:cubicBezTo>
                  <a:cubicBezTo>
                    <a:pt x="128" y="115"/>
                    <a:pt x="128" y="115"/>
                    <a:pt x="128" y="115"/>
                  </a:cubicBezTo>
                  <a:cubicBezTo>
                    <a:pt x="128" y="89"/>
                    <a:pt x="128" y="89"/>
                    <a:pt x="128" y="89"/>
                  </a:cubicBezTo>
                  <a:cubicBezTo>
                    <a:pt x="153" y="89"/>
                    <a:pt x="153" y="89"/>
                    <a:pt x="153" y="89"/>
                  </a:cubicBezTo>
                  <a:cubicBezTo>
                    <a:pt x="153" y="64"/>
                    <a:pt x="153" y="64"/>
                    <a:pt x="153" y="64"/>
                  </a:cubicBezTo>
                  <a:cubicBezTo>
                    <a:pt x="179" y="64"/>
                    <a:pt x="179" y="64"/>
                    <a:pt x="179" y="64"/>
                  </a:cubicBezTo>
                  <a:cubicBezTo>
                    <a:pt x="179" y="38"/>
                    <a:pt x="179" y="38"/>
                    <a:pt x="179" y="38"/>
                  </a:cubicBezTo>
                  <a:cubicBezTo>
                    <a:pt x="204" y="38"/>
                    <a:pt x="204" y="38"/>
                    <a:pt x="204" y="38"/>
                  </a:cubicBezTo>
                  <a:cubicBezTo>
                    <a:pt x="204" y="0"/>
                    <a:pt x="204" y="0"/>
                    <a:pt x="204" y="0"/>
                  </a:cubicBezTo>
                  <a:lnTo>
                    <a:pt x="166" y="0"/>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133">
              <a:extLst>
                <a:ext uri="{FF2B5EF4-FFF2-40B4-BE49-F238E27FC236}">
                  <a16:creationId xmlns:a16="http://schemas.microsoft.com/office/drawing/2014/main" id="{E697DC9B-AB72-51D4-EC0A-FF88C22851BB}"/>
                </a:ext>
              </a:extLst>
            </p:cNvPr>
            <p:cNvSpPr>
              <a:spLocks/>
            </p:cNvSpPr>
            <p:nvPr/>
          </p:nvSpPr>
          <p:spPr bwMode="auto">
            <a:xfrm>
              <a:off x="10375900" y="3867150"/>
              <a:ext cx="773113" cy="708025"/>
            </a:xfrm>
            <a:custGeom>
              <a:avLst/>
              <a:gdLst>
                <a:gd name="T0" fmla="*/ 204 w 204"/>
                <a:gd name="T1" fmla="*/ 0 h 187"/>
                <a:gd name="T2" fmla="*/ 166 w 204"/>
                <a:gd name="T3" fmla="*/ 0 h 187"/>
                <a:gd name="T4" fmla="*/ 85 w 204"/>
                <a:gd name="T5" fmla="*/ 80 h 187"/>
                <a:gd name="T6" fmla="*/ 64 w 204"/>
                <a:gd name="T7" fmla="*/ 76 h 187"/>
                <a:gd name="T8" fmla="*/ 0 w 204"/>
                <a:gd name="T9" fmla="*/ 140 h 187"/>
                <a:gd name="T10" fmla="*/ 20 w 204"/>
                <a:gd name="T11" fmla="*/ 187 h 187"/>
                <a:gd name="T12" fmla="*/ 37 w 204"/>
                <a:gd name="T13" fmla="*/ 169 h 187"/>
                <a:gd name="T14" fmla="*/ 31 w 204"/>
                <a:gd name="T15" fmla="*/ 135 h 187"/>
                <a:gd name="T16" fmla="*/ 37 w 204"/>
                <a:gd name="T17" fmla="*/ 129 h 187"/>
                <a:gd name="T18" fmla="*/ 46 w 204"/>
                <a:gd name="T19" fmla="*/ 131 h 187"/>
                <a:gd name="T20" fmla="*/ 60 w 204"/>
                <a:gd name="T21" fmla="*/ 146 h 187"/>
                <a:gd name="T22" fmla="*/ 204 w 204"/>
                <a:gd name="T23" fmla="*/ 2 h 187"/>
                <a:gd name="T24" fmla="*/ 204 w 204"/>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87">
                  <a:moveTo>
                    <a:pt x="204" y="0"/>
                  </a:moveTo>
                  <a:cubicBezTo>
                    <a:pt x="166" y="0"/>
                    <a:pt x="166" y="0"/>
                    <a:pt x="166" y="0"/>
                  </a:cubicBezTo>
                  <a:cubicBezTo>
                    <a:pt x="85" y="80"/>
                    <a:pt x="85" y="80"/>
                    <a:pt x="85" y="80"/>
                  </a:cubicBezTo>
                  <a:cubicBezTo>
                    <a:pt x="79" y="78"/>
                    <a:pt x="71" y="76"/>
                    <a:pt x="64" y="76"/>
                  </a:cubicBezTo>
                  <a:cubicBezTo>
                    <a:pt x="28" y="76"/>
                    <a:pt x="0" y="105"/>
                    <a:pt x="0" y="140"/>
                  </a:cubicBezTo>
                  <a:cubicBezTo>
                    <a:pt x="0" y="159"/>
                    <a:pt x="7" y="175"/>
                    <a:pt x="20" y="187"/>
                  </a:cubicBezTo>
                  <a:cubicBezTo>
                    <a:pt x="37" y="169"/>
                    <a:pt x="37" y="169"/>
                    <a:pt x="37" y="169"/>
                  </a:cubicBezTo>
                  <a:cubicBezTo>
                    <a:pt x="28" y="159"/>
                    <a:pt x="26" y="146"/>
                    <a:pt x="31" y="135"/>
                  </a:cubicBezTo>
                  <a:cubicBezTo>
                    <a:pt x="32" y="132"/>
                    <a:pt x="34" y="130"/>
                    <a:pt x="37" y="129"/>
                  </a:cubicBezTo>
                  <a:cubicBezTo>
                    <a:pt x="40" y="128"/>
                    <a:pt x="44" y="129"/>
                    <a:pt x="46" y="131"/>
                  </a:cubicBezTo>
                  <a:cubicBezTo>
                    <a:pt x="60" y="146"/>
                    <a:pt x="60" y="146"/>
                    <a:pt x="60" y="146"/>
                  </a:cubicBezTo>
                  <a:cubicBezTo>
                    <a:pt x="204" y="2"/>
                    <a:pt x="204" y="2"/>
                    <a:pt x="204" y="2"/>
                  </a:cubicBezTo>
                  <a:lnTo>
                    <a:pt x="20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134">
              <a:extLst>
                <a:ext uri="{FF2B5EF4-FFF2-40B4-BE49-F238E27FC236}">
                  <a16:creationId xmlns:a16="http://schemas.microsoft.com/office/drawing/2014/main" id="{E7DE4257-8CFF-2B7E-F61E-925B6727D9DD}"/>
                </a:ext>
              </a:extLst>
            </p:cNvPr>
            <p:cNvSpPr>
              <a:spLocks/>
            </p:cNvSpPr>
            <p:nvPr/>
          </p:nvSpPr>
          <p:spPr bwMode="auto">
            <a:xfrm>
              <a:off x="10755313" y="3889375"/>
              <a:ext cx="322263" cy="300038"/>
            </a:xfrm>
            <a:custGeom>
              <a:avLst/>
              <a:gdLst>
                <a:gd name="T0" fmla="*/ 2 w 85"/>
                <a:gd name="T1" fmla="*/ 77 h 79"/>
                <a:gd name="T2" fmla="*/ 2 w 85"/>
                <a:gd name="T3" fmla="*/ 70 h 79"/>
                <a:gd name="T4" fmla="*/ 72 w 85"/>
                <a:gd name="T5" fmla="*/ 0 h 79"/>
                <a:gd name="T6" fmla="*/ 85 w 85"/>
                <a:gd name="T7" fmla="*/ 0 h 79"/>
                <a:gd name="T8" fmla="*/ 8 w 85"/>
                <a:gd name="T9" fmla="*/ 77 h 79"/>
                <a:gd name="T10" fmla="*/ 2 w 85"/>
                <a:gd name="T11" fmla="*/ 77 h 79"/>
              </a:gdLst>
              <a:ahLst/>
              <a:cxnLst>
                <a:cxn ang="0">
                  <a:pos x="T0" y="T1"/>
                </a:cxn>
                <a:cxn ang="0">
                  <a:pos x="T2" y="T3"/>
                </a:cxn>
                <a:cxn ang="0">
                  <a:pos x="T4" y="T5"/>
                </a:cxn>
                <a:cxn ang="0">
                  <a:pos x="T6" y="T7"/>
                </a:cxn>
                <a:cxn ang="0">
                  <a:pos x="T8" y="T9"/>
                </a:cxn>
                <a:cxn ang="0">
                  <a:pos x="T10" y="T11"/>
                </a:cxn>
              </a:cxnLst>
              <a:rect l="0" t="0" r="r" b="b"/>
              <a:pathLst>
                <a:path w="85" h="79">
                  <a:moveTo>
                    <a:pt x="2" y="77"/>
                  </a:moveTo>
                  <a:cubicBezTo>
                    <a:pt x="0" y="75"/>
                    <a:pt x="0" y="72"/>
                    <a:pt x="2" y="70"/>
                  </a:cubicBezTo>
                  <a:cubicBezTo>
                    <a:pt x="72" y="0"/>
                    <a:pt x="72" y="0"/>
                    <a:pt x="72" y="0"/>
                  </a:cubicBezTo>
                  <a:cubicBezTo>
                    <a:pt x="85" y="0"/>
                    <a:pt x="85" y="0"/>
                    <a:pt x="85" y="0"/>
                  </a:cubicBezTo>
                  <a:cubicBezTo>
                    <a:pt x="8" y="77"/>
                    <a:pt x="8" y="77"/>
                    <a:pt x="8" y="77"/>
                  </a:cubicBezTo>
                  <a:cubicBezTo>
                    <a:pt x="7" y="79"/>
                    <a:pt x="4" y="79"/>
                    <a:pt x="2" y="77"/>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61C0E01C-CD0F-8600-251C-67587382A09C}"/>
              </a:ext>
            </a:extLst>
          </p:cNvPr>
          <p:cNvGrpSpPr/>
          <p:nvPr/>
        </p:nvGrpSpPr>
        <p:grpSpPr>
          <a:xfrm>
            <a:off x="6989255" y="1906667"/>
            <a:ext cx="300516" cy="300516"/>
            <a:chOff x="10369550" y="5518150"/>
            <a:chExt cx="779463" cy="779463"/>
          </a:xfrm>
          <a:effectLst>
            <a:outerShdw dist="38100" dir="2700000" algn="tl" rotWithShape="0">
              <a:prstClr val="black">
                <a:alpha val="20000"/>
              </a:prstClr>
            </a:outerShdw>
          </a:effectLst>
        </p:grpSpPr>
        <p:sp>
          <p:nvSpPr>
            <p:cNvPr id="111" name="Freeform 231">
              <a:extLst>
                <a:ext uri="{FF2B5EF4-FFF2-40B4-BE49-F238E27FC236}">
                  <a16:creationId xmlns:a16="http://schemas.microsoft.com/office/drawing/2014/main" id="{2609780D-6646-F926-1188-027FB47B0BCB}"/>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32">
              <a:extLst>
                <a:ext uri="{FF2B5EF4-FFF2-40B4-BE49-F238E27FC236}">
                  <a16:creationId xmlns:a16="http://schemas.microsoft.com/office/drawing/2014/main" id="{FE1DA426-D473-C50A-2830-8A93CE5BE9C0}"/>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33">
              <a:extLst>
                <a:ext uri="{FF2B5EF4-FFF2-40B4-BE49-F238E27FC236}">
                  <a16:creationId xmlns:a16="http://schemas.microsoft.com/office/drawing/2014/main" id="{C055C149-E9D1-F00E-58B6-4C1C6CAB7822}"/>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Oval 234">
              <a:extLst>
                <a:ext uri="{FF2B5EF4-FFF2-40B4-BE49-F238E27FC236}">
                  <a16:creationId xmlns:a16="http://schemas.microsoft.com/office/drawing/2014/main" id="{FB1E6144-07F5-EAEE-F7A2-D25BC26A16BF}"/>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35">
              <a:extLst>
                <a:ext uri="{FF2B5EF4-FFF2-40B4-BE49-F238E27FC236}">
                  <a16:creationId xmlns:a16="http://schemas.microsoft.com/office/drawing/2014/main" id="{9DBFD78D-7647-0CC5-0B5B-2411369D8B50}"/>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1026" name="Picture 2">
            <a:extLst>
              <a:ext uri="{FF2B5EF4-FFF2-40B4-BE49-F238E27FC236}">
                <a16:creationId xmlns:a16="http://schemas.microsoft.com/office/drawing/2014/main" id="{81596AE8-10F4-82FF-05D4-A4BC613878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60909" y="2214366"/>
            <a:ext cx="2618689" cy="2691742"/>
          </a:xfrm>
          <a:prstGeom prst="rect">
            <a:avLst/>
          </a:prstGeom>
          <a:noFill/>
          <a:extLst>
            <a:ext uri="{909E8E84-426E-40DD-AFC4-6F175D3DCCD1}">
              <a14:hiddenFill xmlns:a14="http://schemas.microsoft.com/office/drawing/2010/main">
                <a:solidFill>
                  <a:srgbClr val="FFFFFF"/>
                </a:solidFill>
              </a14:hiddenFill>
            </a:ext>
          </a:extLst>
        </p:spPr>
      </p:pic>
      <p:grpSp>
        <p:nvGrpSpPr>
          <p:cNvPr id="116" name="Group 115">
            <a:extLst>
              <a:ext uri="{FF2B5EF4-FFF2-40B4-BE49-F238E27FC236}">
                <a16:creationId xmlns:a16="http://schemas.microsoft.com/office/drawing/2014/main" id="{1BCA2D9B-9048-C698-72C6-681E5AAA21A5}"/>
              </a:ext>
            </a:extLst>
          </p:cNvPr>
          <p:cNvGrpSpPr/>
          <p:nvPr/>
        </p:nvGrpSpPr>
        <p:grpSpPr>
          <a:xfrm>
            <a:off x="4172087" y="3294627"/>
            <a:ext cx="297457" cy="298074"/>
            <a:chOff x="8347096" y="2216191"/>
            <a:chExt cx="771526" cy="773127"/>
          </a:xfrm>
          <a:effectLst>
            <a:outerShdw dist="38100" dir="2700000" algn="tl" rotWithShape="0">
              <a:prstClr val="black">
                <a:alpha val="20000"/>
              </a:prstClr>
            </a:outerShdw>
          </a:effectLst>
        </p:grpSpPr>
        <p:sp>
          <p:nvSpPr>
            <p:cNvPr id="118" name="Freeform 98">
              <a:extLst>
                <a:ext uri="{FF2B5EF4-FFF2-40B4-BE49-F238E27FC236}">
                  <a16:creationId xmlns:a16="http://schemas.microsoft.com/office/drawing/2014/main" id="{E10F9C7B-5EB5-513B-2D00-36251166575A}"/>
                </a:ext>
              </a:extLst>
            </p:cNvPr>
            <p:cNvSpPr>
              <a:spLocks/>
            </p:cNvSpPr>
            <p:nvPr/>
          </p:nvSpPr>
          <p:spPr bwMode="auto">
            <a:xfrm>
              <a:off x="8683646" y="2409870"/>
              <a:ext cx="434976" cy="579448"/>
            </a:xfrm>
            <a:custGeom>
              <a:avLst/>
              <a:gdLst>
                <a:gd name="T0" fmla="*/ 0 w 115"/>
                <a:gd name="T1" fmla="*/ 9 h 153"/>
                <a:gd name="T2" fmla="*/ 9 w 115"/>
                <a:gd name="T3" fmla="*/ 0 h 153"/>
                <a:gd name="T4" fmla="*/ 77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7" y="0"/>
                    <a:pt x="77" y="0"/>
                    <a:pt x="77"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99">
              <a:extLst>
                <a:ext uri="{FF2B5EF4-FFF2-40B4-BE49-F238E27FC236}">
                  <a16:creationId xmlns:a16="http://schemas.microsoft.com/office/drawing/2014/main" id="{42AF0811-37EC-545A-49FF-4BC71C6B637E}"/>
                </a:ext>
              </a:extLst>
            </p:cNvPr>
            <p:cNvSpPr>
              <a:spLocks/>
            </p:cNvSpPr>
            <p:nvPr/>
          </p:nvSpPr>
          <p:spPr bwMode="auto">
            <a:xfrm>
              <a:off x="8975747" y="2409870"/>
              <a:ext cx="142875" cy="120652"/>
            </a:xfrm>
            <a:custGeom>
              <a:avLst/>
              <a:gdLst>
                <a:gd name="T0" fmla="*/ 0 w 38"/>
                <a:gd name="T1" fmla="*/ 0 h 32"/>
                <a:gd name="T2" fmla="*/ 0 w 38"/>
                <a:gd name="T3" fmla="*/ 23 h 32"/>
                <a:gd name="T4" fmla="*/ 9 w 38"/>
                <a:gd name="T5" fmla="*/ 32 h 32"/>
                <a:gd name="T6" fmla="*/ 38 w 38"/>
                <a:gd name="T7" fmla="*/ 32 h 32"/>
              </a:gdLst>
              <a:ahLst/>
              <a:cxnLst>
                <a:cxn ang="0">
                  <a:pos x="T0" y="T1"/>
                </a:cxn>
                <a:cxn ang="0">
                  <a:pos x="T2" y="T3"/>
                </a:cxn>
                <a:cxn ang="0">
                  <a:pos x="T4" y="T5"/>
                </a:cxn>
                <a:cxn ang="0">
                  <a:pos x="T6" y="T7"/>
                </a:cxn>
              </a:cxnLst>
              <a:rect l="0" t="0" r="r" b="b"/>
              <a:pathLst>
                <a:path w="38" h="32">
                  <a:moveTo>
                    <a:pt x="0" y="0"/>
                  </a:moveTo>
                  <a:cubicBezTo>
                    <a:pt x="0" y="23"/>
                    <a:pt x="0" y="23"/>
                    <a:pt x="0" y="23"/>
                  </a:cubicBezTo>
                  <a:cubicBezTo>
                    <a:pt x="0" y="28"/>
                    <a:pt x="4" y="32"/>
                    <a:pt x="9" y="32"/>
                  </a:cubicBezTo>
                  <a:cubicBezTo>
                    <a:pt x="38" y="32"/>
                    <a:pt x="38" y="32"/>
                    <a:pt x="38" y="32"/>
                  </a:cubicBezTo>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100">
              <a:extLst>
                <a:ext uri="{FF2B5EF4-FFF2-40B4-BE49-F238E27FC236}">
                  <a16:creationId xmlns:a16="http://schemas.microsoft.com/office/drawing/2014/main" id="{71C52771-DDB4-20D4-02BF-90E0973BA753}"/>
                </a:ext>
              </a:extLst>
            </p:cNvPr>
            <p:cNvSpPr>
              <a:spLocks/>
            </p:cNvSpPr>
            <p:nvPr/>
          </p:nvSpPr>
          <p:spPr bwMode="auto">
            <a:xfrm>
              <a:off x="8770959" y="2552747"/>
              <a:ext cx="131763" cy="26988"/>
            </a:xfrm>
            <a:custGeom>
              <a:avLst/>
              <a:gdLst>
                <a:gd name="T0" fmla="*/ 35 w 35"/>
                <a:gd name="T1" fmla="*/ 3 h 7"/>
                <a:gd name="T2" fmla="*/ 32 w 35"/>
                <a:gd name="T3" fmla="*/ 7 h 7"/>
                <a:gd name="T4" fmla="*/ 3 w 35"/>
                <a:gd name="T5" fmla="*/ 7 h 7"/>
                <a:gd name="T6" fmla="*/ 0 w 35"/>
                <a:gd name="T7" fmla="*/ 3 h 7"/>
                <a:gd name="T8" fmla="*/ 3 w 35"/>
                <a:gd name="T9" fmla="*/ 0 h 7"/>
                <a:gd name="T10" fmla="*/ 32 w 35"/>
                <a:gd name="T11" fmla="*/ 0 h 7"/>
                <a:gd name="T12" fmla="*/ 35 w 35"/>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3"/>
                  </a:moveTo>
                  <a:cubicBezTo>
                    <a:pt x="35" y="5"/>
                    <a:pt x="33" y="7"/>
                    <a:pt x="32" y="7"/>
                  </a:cubicBezTo>
                  <a:cubicBezTo>
                    <a:pt x="3" y="7"/>
                    <a:pt x="3" y="7"/>
                    <a:pt x="3" y="7"/>
                  </a:cubicBezTo>
                  <a:cubicBezTo>
                    <a:pt x="1" y="7"/>
                    <a:pt x="0" y="5"/>
                    <a:pt x="0" y="3"/>
                  </a:cubicBezTo>
                  <a:cubicBezTo>
                    <a:pt x="0" y="2"/>
                    <a:pt x="1" y="0"/>
                    <a:pt x="3" y="0"/>
                  </a:cubicBezTo>
                  <a:cubicBezTo>
                    <a:pt x="32" y="0"/>
                    <a:pt x="32" y="0"/>
                    <a:pt x="32" y="0"/>
                  </a:cubicBezTo>
                  <a:cubicBezTo>
                    <a:pt x="33" y="0"/>
                    <a:pt x="35" y="2"/>
                    <a:pt x="35"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101">
              <a:extLst>
                <a:ext uri="{FF2B5EF4-FFF2-40B4-BE49-F238E27FC236}">
                  <a16:creationId xmlns:a16="http://schemas.microsoft.com/office/drawing/2014/main" id="{5F561433-D0E3-8DB5-6CAB-B7E0329EEBC4}"/>
                </a:ext>
              </a:extLst>
            </p:cNvPr>
            <p:cNvSpPr>
              <a:spLocks/>
            </p:cNvSpPr>
            <p:nvPr/>
          </p:nvSpPr>
          <p:spPr bwMode="auto">
            <a:xfrm>
              <a:off x="8770959" y="2651174"/>
              <a:ext cx="276226" cy="23813"/>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102">
              <a:extLst>
                <a:ext uri="{FF2B5EF4-FFF2-40B4-BE49-F238E27FC236}">
                  <a16:creationId xmlns:a16="http://schemas.microsoft.com/office/drawing/2014/main" id="{920C7F89-2B31-A415-075E-D0E195DBB44B}"/>
                </a:ext>
              </a:extLst>
            </p:cNvPr>
            <p:cNvSpPr>
              <a:spLocks/>
            </p:cNvSpPr>
            <p:nvPr/>
          </p:nvSpPr>
          <p:spPr bwMode="auto">
            <a:xfrm>
              <a:off x="8770959" y="2746426"/>
              <a:ext cx="276226" cy="26988"/>
            </a:xfrm>
            <a:custGeom>
              <a:avLst/>
              <a:gdLst>
                <a:gd name="T0" fmla="*/ 73 w 73"/>
                <a:gd name="T1" fmla="*/ 4 h 7"/>
                <a:gd name="T2" fmla="*/ 70 w 73"/>
                <a:gd name="T3" fmla="*/ 7 h 7"/>
                <a:gd name="T4" fmla="*/ 3 w 73"/>
                <a:gd name="T5" fmla="*/ 7 h 7"/>
                <a:gd name="T6" fmla="*/ 0 w 73"/>
                <a:gd name="T7" fmla="*/ 4 h 7"/>
                <a:gd name="T8" fmla="*/ 3 w 73"/>
                <a:gd name="T9" fmla="*/ 0 h 7"/>
                <a:gd name="T10" fmla="*/ 70 w 73"/>
                <a:gd name="T11" fmla="*/ 0 h 7"/>
                <a:gd name="T12" fmla="*/ 73 w 7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3" h="7">
                  <a:moveTo>
                    <a:pt x="73" y="4"/>
                  </a:moveTo>
                  <a:cubicBezTo>
                    <a:pt x="73" y="5"/>
                    <a:pt x="72" y="7"/>
                    <a:pt x="70" y="7"/>
                  </a:cubicBezTo>
                  <a:cubicBezTo>
                    <a:pt x="3" y="7"/>
                    <a:pt x="3" y="7"/>
                    <a:pt x="3" y="7"/>
                  </a:cubicBezTo>
                  <a:cubicBezTo>
                    <a:pt x="1" y="7"/>
                    <a:pt x="0" y="5"/>
                    <a:pt x="0" y="4"/>
                  </a:cubicBezTo>
                  <a:cubicBezTo>
                    <a:pt x="0" y="2"/>
                    <a:pt x="1" y="0"/>
                    <a:pt x="3" y="0"/>
                  </a:cubicBezTo>
                  <a:cubicBezTo>
                    <a:pt x="70" y="0"/>
                    <a:pt x="70" y="0"/>
                    <a:pt x="70" y="0"/>
                  </a:cubicBezTo>
                  <a:cubicBezTo>
                    <a:pt x="72" y="0"/>
                    <a:pt x="73" y="2"/>
                    <a:pt x="73" y="4"/>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103">
              <a:extLst>
                <a:ext uri="{FF2B5EF4-FFF2-40B4-BE49-F238E27FC236}">
                  <a16:creationId xmlns:a16="http://schemas.microsoft.com/office/drawing/2014/main" id="{56B68784-B441-27C4-2013-795191125B68}"/>
                </a:ext>
              </a:extLst>
            </p:cNvPr>
            <p:cNvSpPr>
              <a:spLocks/>
            </p:cNvSpPr>
            <p:nvPr/>
          </p:nvSpPr>
          <p:spPr bwMode="auto">
            <a:xfrm>
              <a:off x="8770959" y="2844853"/>
              <a:ext cx="276226" cy="22225"/>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104">
              <a:extLst>
                <a:ext uri="{FF2B5EF4-FFF2-40B4-BE49-F238E27FC236}">
                  <a16:creationId xmlns:a16="http://schemas.microsoft.com/office/drawing/2014/main" id="{33DB9B7D-9BF9-934E-DCFC-7BBF7FE11503}"/>
                </a:ext>
              </a:extLst>
            </p:cNvPr>
            <p:cNvSpPr>
              <a:spLocks/>
            </p:cNvSpPr>
            <p:nvPr/>
          </p:nvSpPr>
          <p:spPr bwMode="auto">
            <a:xfrm>
              <a:off x="8347096" y="2216191"/>
              <a:ext cx="434976" cy="579448"/>
            </a:xfrm>
            <a:custGeom>
              <a:avLst/>
              <a:gdLst>
                <a:gd name="T0" fmla="*/ 0 w 115"/>
                <a:gd name="T1" fmla="*/ 9 h 153"/>
                <a:gd name="T2" fmla="*/ 9 w 115"/>
                <a:gd name="T3" fmla="*/ 0 h 153"/>
                <a:gd name="T4" fmla="*/ 76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6" y="0"/>
                    <a:pt x="76" y="0"/>
                    <a:pt x="76"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105">
              <a:extLst>
                <a:ext uri="{FF2B5EF4-FFF2-40B4-BE49-F238E27FC236}">
                  <a16:creationId xmlns:a16="http://schemas.microsoft.com/office/drawing/2014/main" id="{9C08077F-B1C1-5A70-49DB-CC3ECB750E65}"/>
                </a:ext>
              </a:extLst>
            </p:cNvPr>
            <p:cNvSpPr>
              <a:spLocks/>
            </p:cNvSpPr>
            <p:nvPr/>
          </p:nvSpPr>
          <p:spPr bwMode="auto">
            <a:xfrm>
              <a:off x="8634434" y="2216191"/>
              <a:ext cx="147638" cy="120652"/>
            </a:xfrm>
            <a:custGeom>
              <a:avLst/>
              <a:gdLst>
                <a:gd name="T0" fmla="*/ 0 w 39"/>
                <a:gd name="T1" fmla="*/ 0 h 32"/>
                <a:gd name="T2" fmla="*/ 0 w 39"/>
                <a:gd name="T3" fmla="*/ 23 h 32"/>
                <a:gd name="T4" fmla="*/ 10 w 39"/>
                <a:gd name="T5" fmla="*/ 32 h 32"/>
                <a:gd name="T6" fmla="*/ 39 w 39"/>
                <a:gd name="T7" fmla="*/ 32 h 32"/>
              </a:gdLst>
              <a:ahLst/>
              <a:cxnLst>
                <a:cxn ang="0">
                  <a:pos x="T0" y="T1"/>
                </a:cxn>
                <a:cxn ang="0">
                  <a:pos x="T2" y="T3"/>
                </a:cxn>
                <a:cxn ang="0">
                  <a:pos x="T4" y="T5"/>
                </a:cxn>
                <a:cxn ang="0">
                  <a:pos x="T6" y="T7"/>
                </a:cxn>
              </a:cxnLst>
              <a:rect l="0" t="0" r="r" b="b"/>
              <a:pathLst>
                <a:path w="39" h="32">
                  <a:moveTo>
                    <a:pt x="0" y="0"/>
                  </a:moveTo>
                  <a:cubicBezTo>
                    <a:pt x="0" y="23"/>
                    <a:pt x="0" y="23"/>
                    <a:pt x="0" y="23"/>
                  </a:cubicBezTo>
                  <a:cubicBezTo>
                    <a:pt x="0" y="28"/>
                    <a:pt x="5" y="32"/>
                    <a:pt x="10" y="32"/>
                  </a:cubicBezTo>
                  <a:cubicBezTo>
                    <a:pt x="39" y="32"/>
                    <a:pt x="39" y="32"/>
                    <a:pt x="39" y="32"/>
                  </a:cubicBezTo>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106">
              <a:extLst>
                <a:ext uri="{FF2B5EF4-FFF2-40B4-BE49-F238E27FC236}">
                  <a16:creationId xmlns:a16="http://schemas.microsoft.com/office/drawing/2014/main" id="{34F9ED88-626E-3EBE-E17E-5DBA999A0F8F}"/>
                </a:ext>
              </a:extLst>
            </p:cNvPr>
            <p:cNvSpPr>
              <a:spLocks/>
            </p:cNvSpPr>
            <p:nvPr/>
          </p:nvSpPr>
          <p:spPr bwMode="auto">
            <a:xfrm>
              <a:off x="8431233" y="236065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107">
              <a:extLst>
                <a:ext uri="{FF2B5EF4-FFF2-40B4-BE49-F238E27FC236}">
                  <a16:creationId xmlns:a16="http://schemas.microsoft.com/office/drawing/2014/main" id="{DFC1A06A-7D31-3641-8968-7E183FAE4D6F}"/>
                </a:ext>
              </a:extLst>
            </p:cNvPr>
            <p:cNvSpPr>
              <a:spLocks/>
            </p:cNvSpPr>
            <p:nvPr/>
          </p:nvSpPr>
          <p:spPr bwMode="auto">
            <a:xfrm>
              <a:off x="8431233" y="2459083"/>
              <a:ext cx="279401" cy="22225"/>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108">
              <a:extLst>
                <a:ext uri="{FF2B5EF4-FFF2-40B4-BE49-F238E27FC236}">
                  <a16:creationId xmlns:a16="http://schemas.microsoft.com/office/drawing/2014/main" id="{0DC4C568-2483-3BA0-756F-F2BED09B0F1A}"/>
                </a:ext>
              </a:extLst>
            </p:cNvPr>
            <p:cNvSpPr>
              <a:spLocks/>
            </p:cNvSpPr>
            <p:nvPr/>
          </p:nvSpPr>
          <p:spPr bwMode="auto">
            <a:xfrm>
              <a:off x="8431233" y="2552747"/>
              <a:ext cx="279401" cy="26988"/>
            </a:xfrm>
            <a:custGeom>
              <a:avLst/>
              <a:gdLst>
                <a:gd name="T0" fmla="*/ 74 w 74"/>
                <a:gd name="T1" fmla="*/ 3 h 7"/>
                <a:gd name="T2" fmla="*/ 70 w 74"/>
                <a:gd name="T3" fmla="*/ 7 h 7"/>
                <a:gd name="T4" fmla="*/ 3 w 74"/>
                <a:gd name="T5" fmla="*/ 7 h 7"/>
                <a:gd name="T6" fmla="*/ 0 w 74"/>
                <a:gd name="T7" fmla="*/ 3 h 7"/>
                <a:gd name="T8" fmla="*/ 3 w 74"/>
                <a:gd name="T9" fmla="*/ 0 h 7"/>
                <a:gd name="T10" fmla="*/ 70 w 74"/>
                <a:gd name="T11" fmla="*/ 0 h 7"/>
                <a:gd name="T12" fmla="*/ 74 w 7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4" h="7">
                  <a:moveTo>
                    <a:pt x="74" y="3"/>
                  </a:moveTo>
                  <a:cubicBezTo>
                    <a:pt x="74" y="5"/>
                    <a:pt x="72" y="7"/>
                    <a:pt x="70" y="7"/>
                  </a:cubicBezTo>
                  <a:cubicBezTo>
                    <a:pt x="3" y="7"/>
                    <a:pt x="3" y="7"/>
                    <a:pt x="3" y="7"/>
                  </a:cubicBezTo>
                  <a:cubicBezTo>
                    <a:pt x="1" y="7"/>
                    <a:pt x="0" y="5"/>
                    <a:pt x="0" y="3"/>
                  </a:cubicBezTo>
                  <a:cubicBezTo>
                    <a:pt x="0" y="2"/>
                    <a:pt x="1" y="0"/>
                    <a:pt x="3" y="0"/>
                  </a:cubicBezTo>
                  <a:cubicBezTo>
                    <a:pt x="70" y="0"/>
                    <a:pt x="70" y="0"/>
                    <a:pt x="70" y="0"/>
                  </a:cubicBezTo>
                  <a:cubicBezTo>
                    <a:pt x="72" y="0"/>
                    <a:pt x="74" y="2"/>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09">
              <a:extLst>
                <a:ext uri="{FF2B5EF4-FFF2-40B4-BE49-F238E27FC236}">
                  <a16:creationId xmlns:a16="http://schemas.microsoft.com/office/drawing/2014/main" id="{01A4BE0D-1D61-BF1E-2C3F-07A3AA46FA26}"/>
                </a:ext>
              </a:extLst>
            </p:cNvPr>
            <p:cNvSpPr>
              <a:spLocks/>
            </p:cNvSpPr>
            <p:nvPr/>
          </p:nvSpPr>
          <p:spPr bwMode="auto">
            <a:xfrm>
              <a:off x="8431233" y="2651174"/>
              <a:ext cx="279401" cy="23813"/>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0" name="Group 129">
            <a:extLst>
              <a:ext uri="{FF2B5EF4-FFF2-40B4-BE49-F238E27FC236}">
                <a16:creationId xmlns:a16="http://schemas.microsoft.com/office/drawing/2014/main" id="{928425A4-D3D5-3D52-21EB-D896D0B81B74}"/>
              </a:ext>
            </a:extLst>
          </p:cNvPr>
          <p:cNvGrpSpPr/>
          <p:nvPr/>
        </p:nvGrpSpPr>
        <p:grpSpPr>
          <a:xfrm>
            <a:off x="6997824" y="4737799"/>
            <a:ext cx="283378" cy="299294"/>
            <a:chOff x="4686300" y="2212975"/>
            <a:chExt cx="735013" cy="776288"/>
          </a:xfrm>
          <a:effectLst>
            <a:outerShdw dist="38100" dir="2700000" algn="tl" rotWithShape="0">
              <a:prstClr val="black">
                <a:alpha val="20000"/>
              </a:prstClr>
            </a:outerShdw>
          </a:effectLst>
        </p:grpSpPr>
        <p:sp>
          <p:nvSpPr>
            <p:cNvPr id="132" name="Freeform 103">
              <a:extLst>
                <a:ext uri="{FF2B5EF4-FFF2-40B4-BE49-F238E27FC236}">
                  <a16:creationId xmlns:a16="http://schemas.microsoft.com/office/drawing/2014/main" id="{1BE6BC63-D908-C1DF-41AD-581947422C7C}"/>
                </a:ext>
              </a:extLst>
            </p:cNvPr>
            <p:cNvSpPr>
              <a:spLocks/>
            </p:cNvSpPr>
            <p:nvPr/>
          </p:nvSpPr>
          <p:spPr bwMode="auto">
            <a:xfrm>
              <a:off x="4686300" y="2224088"/>
              <a:ext cx="735013" cy="765175"/>
            </a:xfrm>
            <a:custGeom>
              <a:avLst/>
              <a:gdLst>
                <a:gd name="T0" fmla="*/ 463 w 463"/>
                <a:gd name="T1" fmla="*/ 305 h 482"/>
                <a:gd name="T2" fmla="*/ 391 w 463"/>
                <a:gd name="T3" fmla="*/ 0 h 482"/>
                <a:gd name="T4" fmla="*/ 0 w 463"/>
                <a:gd name="T5" fmla="*/ 90 h 482"/>
                <a:gd name="T6" fmla="*/ 93 w 463"/>
                <a:gd name="T7" fmla="*/ 482 h 482"/>
                <a:gd name="T8" fmla="*/ 398 w 463"/>
                <a:gd name="T9" fmla="*/ 410 h 482"/>
                <a:gd name="T10" fmla="*/ 463 w 463"/>
                <a:gd name="T11" fmla="*/ 305 h 482"/>
              </a:gdLst>
              <a:ahLst/>
              <a:cxnLst>
                <a:cxn ang="0">
                  <a:pos x="T0" y="T1"/>
                </a:cxn>
                <a:cxn ang="0">
                  <a:pos x="T2" y="T3"/>
                </a:cxn>
                <a:cxn ang="0">
                  <a:pos x="T4" y="T5"/>
                </a:cxn>
                <a:cxn ang="0">
                  <a:pos x="T6" y="T7"/>
                </a:cxn>
                <a:cxn ang="0">
                  <a:pos x="T8" y="T9"/>
                </a:cxn>
                <a:cxn ang="0">
                  <a:pos x="T10" y="T11"/>
                </a:cxn>
              </a:cxnLst>
              <a:rect l="0" t="0" r="r" b="b"/>
              <a:pathLst>
                <a:path w="463" h="482">
                  <a:moveTo>
                    <a:pt x="463" y="305"/>
                  </a:moveTo>
                  <a:lnTo>
                    <a:pt x="391" y="0"/>
                  </a:lnTo>
                  <a:lnTo>
                    <a:pt x="0" y="90"/>
                  </a:lnTo>
                  <a:lnTo>
                    <a:pt x="93" y="482"/>
                  </a:lnTo>
                  <a:lnTo>
                    <a:pt x="398" y="410"/>
                  </a:lnTo>
                  <a:lnTo>
                    <a:pt x="463" y="305"/>
                  </a:ln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04">
              <a:extLst>
                <a:ext uri="{FF2B5EF4-FFF2-40B4-BE49-F238E27FC236}">
                  <a16:creationId xmlns:a16="http://schemas.microsoft.com/office/drawing/2014/main" id="{1CC6152E-4FF5-F27A-EC23-1A3FFA7A00F3}"/>
                </a:ext>
              </a:extLst>
            </p:cNvPr>
            <p:cNvSpPr>
              <a:spLocks/>
            </p:cNvSpPr>
            <p:nvPr/>
          </p:nvSpPr>
          <p:spPr bwMode="auto">
            <a:xfrm>
              <a:off x="5287963" y="2708275"/>
              <a:ext cx="133350" cy="163513"/>
            </a:xfrm>
            <a:custGeom>
              <a:avLst/>
              <a:gdLst>
                <a:gd name="T0" fmla="*/ 84 w 84"/>
                <a:gd name="T1" fmla="*/ 0 h 103"/>
                <a:gd name="T2" fmla="*/ 22 w 84"/>
                <a:gd name="T3" fmla="*/ 103 h 103"/>
                <a:gd name="T4" fmla="*/ 0 w 84"/>
                <a:gd name="T5" fmla="*/ 19 h 103"/>
                <a:gd name="T6" fmla="*/ 84 w 84"/>
                <a:gd name="T7" fmla="*/ 0 h 103"/>
              </a:gdLst>
              <a:ahLst/>
              <a:cxnLst>
                <a:cxn ang="0">
                  <a:pos x="T0" y="T1"/>
                </a:cxn>
                <a:cxn ang="0">
                  <a:pos x="T2" y="T3"/>
                </a:cxn>
                <a:cxn ang="0">
                  <a:pos x="T4" y="T5"/>
                </a:cxn>
                <a:cxn ang="0">
                  <a:pos x="T6" y="T7"/>
                </a:cxn>
              </a:cxnLst>
              <a:rect l="0" t="0" r="r" b="b"/>
              <a:pathLst>
                <a:path w="84" h="103">
                  <a:moveTo>
                    <a:pt x="84" y="0"/>
                  </a:moveTo>
                  <a:lnTo>
                    <a:pt x="22" y="103"/>
                  </a:lnTo>
                  <a:lnTo>
                    <a:pt x="0" y="19"/>
                  </a:lnTo>
                  <a:lnTo>
                    <a:pt x="8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105">
              <a:extLst>
                <a:ext uri="{FF2B5EF4-FFF2-40B4-BE49-F238E27FC236}">
                  <a16:creationId xmlns:a16="http://schemas.microsoft.com/office/drawing/2014/main" id="{E61BB6FE-BFDF-D450-1194-B06F7360C771}"/>
                </a:ext>
              </a:extLst>
            </p:cNvPr>
            <p:cNvSpPr>
              <a:spLocks/>
            </p:cNvSpPr>
            <p:nvPr/>
          </p:nvSpPr>
          <p:spPr bwMode="auto">
            <a:xfrm>
              <a:off x="4841875" y="2492375"/>
              <a:ext cx="377825" cy="109538"/>
            </a:xfrm>
            <a:custGeom>
              <a:avLst/>
              <a:gdLst>
                <a:gd name="T0" fmla="*/ 100 w 100"/>
                <a:gd name="T1" fmla="*/ 3 h 29"/>
                <a:gd name="T2" fmla="*/ 98 w 100"/>
                <a:gd name="T3" fmla="*/ 6 h 29"/>
                <a:gd name="T4" fmla="*/ 4 w 100"/>
                <a:gd name="T5" fmla="*/ 29 h 29"/>
                <a:gd name="T6" fmla="*/ 0 w 100"/>
                <a:gd name="T7" fmla="*/ 27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7"/>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06">
              <a:extLst>
                <a:ext uri="{FF2B5EF4-FFF2-40B4-BE49-F238E27FC236}">
                  <a16:creationId xmlns:a16="http://schemas.microsoft.com/office/drawing/2014/main" id="{AC1DAB0E-393C-D3A0-6A97-E6FB2D84B086}"/>
                </a:ext>
              </a:extLst>
            </p:cNvPr>
            <p:cNvSpPr>
              <a:spLocks/>
            </p:cNvSpPr>
            <p:nvPr/>
          </p:nvSpPr>
          <p:spPr bwMode="auto">
            <a:xfrm>
              <a:off x="4864100" y="2587625"/>
              <a:ext cx="379413" cy="109538"/>
            </a:xfrm>
            <a:custGeom>
              <a:avLst/>
              <a:gdLst>
                <a:gd name="T0" fmla="*/ 100 w 100"/>
                <a:gd name="T1" fmla="*/ 3 h 29"/>
                <a:gd name="T2" fmla="*/ 98 w 100"/>
                <a:gd name="T3" fmla="*/ 6 h 29"/>
                <a:gd name="T4" fmla="*/ 4 w 100"/>
                <a:gd name="T5" fmla="*/ 29 h 29"/>
                <a:gd name="T6" fmla="*/ 0 w 100"/>
                <a:gd name="T7" fmla="*/ 26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6"/>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107">
              <a:extLst>
                <a:ext uri="{FF2B5EF4-FFF2-40B4-BE49-F238E27FC236}">
                  <a16:creationId xmlns:a16="http://schemas.microsoft.com/office/drawing/2014/main" id="{EE1EE41F-CEC9-703E-D7A2-808841948025}"/>
                </a:ext>
              </a:extLst>
            </p:cNvPr>
            <p:cNvSpPr>
              <a:spLocks/>
            </p:cNvSpPr>
            <p:nvPr/>
          </p:nvSpPr>
          <p:spPr bwMode="auto">
            <a:xfrm>
              <a:off x="4886325" y="2705100"/>
              <a:ext cx="284163" cy="87313"/>
            </a:xfrm>
            <a:custGeom>
              <a:avLst/>
              <a:gdLst>
                <a:gd name="T0" fmla="*/ 75 w 75"/>
                <a:gd name="T1" fmla="*/ 2 h 23"/>
                <a:gd name="T2" fmla="*/ 73 w 75"/>
                <a:gd name="T3" fmla="*/ 6 h 23"/>
                <a:gd name="T4" fmla="*/ 4 w 75"/>
                <a:gd name="T5" fmla="*/ 23 h 23"/>
                <a:gd name="T6" fmla="*/ 0 w 75"/>
                <a:gd name="T7" fmla="*/ 20 h 23"/>
                <a:gd name="T8" fmla="*/ 3 w 75"/>
                <a:gd name="T9" fmla="*/ 17 h 23"/>
                <a:gd name="T10" fmla="*/ 71 w 75"/>
                <a:gd name="T11" fmla="*/ 0 h 23"/>
                <a:gd name="T12" fmla="*/ 75 w 75"/>
                <a:gd name="T13" fmla="*/ 2 h 23"/>
              </a:gdLst>
              <a:ahLst/>
              <a:cxnLst>
                <a:cxn ang="0">
                  <a:pos x="T0" y="T1"/>
                </a:cxn>
                <a:cxn ang="0">
                  <a:pos x="T2" y="T3"/>
                </a:cxn>
                <a:cxn ang="0">
                  <a:pos x="T4" y="T5"/>
                </a:cxn>
                <a:cxn ang="0">
                  <a:pos x="T6" y="T7"/>
                </a:cxn>
                <a:cxn ang="0">
                  <a:pos x="T8" y="T9"/>
                </a:cxn>
                <a:cxn ang="0">
                  <a:pos x="T10" y="T11"/>
                </a:cxn>
                <a:cxn ang="0">
                  <a:pos x="T12" y="T13"/>
                </a:cxn>
              </a:cxnLst>
              <a:rect l="0" t="0" r="r" b="b"/>
              <a:pathLst>
                <a:path w="75" h="23">
                  <a:moveTo>
                    <a:pt x="75" y="2"/>
                  </a:moveTo>
                  <a:cubicBezTo>
                    <a:pt x="75" y="4"/>
                    <a:pt x="74" y="6"/>
                    <a:pt x="73" y="6"/>
                  </a:cubicBezTo>
                  <a:cubicBezTo>
                    <a:pt x="4" y="23"/>
                    <a:pt x="4" y="23"/>
                    <a:pt x="4" y="23"/>
                  </a:cubicBezTo>
                  <a:cubicBezTo>
                    <a:pt x="2" y="23"/>
                    <a:pt x="1" y="22"/>
                    <a:pt x="0" y="20"/>
                  </a:cubicBezTo>
                  <a:cubicBezTo>
                    <a:pt x="0" y="19"/>
                    <a:pt x="1" y="17"/>
                    <a:pt x="3" y="17"/>
                  </a:cubicBezTo>
                  <a:cubicBezTo>
                    <a:pt x="71" y="0"/>
                    <a:pt x="71" y="0"/>
                    <a:pt x="71" y="0"/>
                  </a:cubicBezTo>
                  <a:cubicBezTo>
                    <a:pt x="73" y="0"/>
                    <a:pt x="75" y="1"/>
                    <a:pt x="75" y="2"/>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108">
              <a:extLst>
                <a:ext uri="{FF2B5EF4-FFF2-40B4-BE49-F238E27FC236}">
                  <a16:creationId xmlns:a16="http://schemas.microsoft.com/office/drawing/2014/main" id="{3513611E-7C78-3197-CAFD-145CCF40D110}"/>
                </a:ext>
              </a:extLst>
            </p:cNvPr>
            <p:cNvSpPr>
              <a:spLocks/>
            </p:cNvSpPr>
            <p:nvPr/>
          </p:nvSpPr>
          <p:spPr bwMode="auto">
            <a:xfrm>
              <a:off x="5003800" y="2355850"/>
              <a:ext cx="46038" cy="125413"/>
            </a:xfrm>
            <a:custGeom>
              <a:avLst/>
              <a:gdLst>
                <a:gd name="T0" fmla="*/ 6 w 12"/>
                <a:gd name="T1" fmla="*/ 1 h 33"/>
                <a:gd name="T2" fmla="*/ 0 w 12"/>
                <a:gd name="T3" fmla="*/ 0 h 33"/>
                <a:gd name="T4" fmla="*/ 0 w 12"/>
                <a:gd name="T5" fmla="*/ 26 h 33"/>
                <a:gd name="T6" fmla="*/ 6 w 12"/>
                <a:gd name="T7" fmla="*/ 33 h 33"/>
                <a:gd name="T8" fmla="*/ 12 w 12"/>
                <a:gd name="T9" fmla="*/ 26 h 33"/>
                <a:gd name="T10" fmla="*/ 12 w 12"/>
                <a:gd name="T11" fmla="*/ 0 h 33"/>
                <a:gd name="T12" fmla="*/ 6 w 12"/>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12" h="33">
                  <a:moveTo>
                    <a:pt x="6" y="1"/>
                  </a:moveTo>
                  <a:cubicBezTo>
                    <a:pt x="4" y="1"/>
                    <a:pt x="2" y="0"/>
                    <a:pt x="0" y="0"/>
                  </a:cubicBezTo>
                  <a:cubicBezTo>
                    <a:pt x="0" y="26"/>
                    <a:pt x="0" y="26"/>
                    <a:pt x="0" y="26"/>
                  </a:cubicBezTo>
                  <a:cubicBezTo>
                    <a:pt x="0" y="30"/>
                    <a:pt x="2" y="33"/>
                    <a:pt x="6" y="33"/>
                  </a:cubicBezTo>
                  <a:cubicBezTo>
                    <a:pt x="10" y="33"/>
                    <a:pt x="12" y="30"/>
                    <a:pt x="12" y="26"/>
                  </a:cubicBezTo>
                  <a:cubicBezTo>
                    <a:pt x="12" y="0"/>
                    <a:pt x="12" y="0"/>
                    <a:pt x="12" y="0"/>
                  </a:cubicBezTo>
                  <a:cubicBezTo>
                    <a:pt x="10" y="0"/>
                    <a:pt x="8" y="1"/>
                    <a:pt x="6" y="1"/>
                  </a:cubicBezTo>
                  <a:close/>
                </a:path>
              </a:pathLst>
            </a:custGeom>
            <a:solidFill>
              <a:srgbClr val="B6BC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Oval 109">
              <a:extLst>
                <a:ext uri="{FF2B5EF4-FFF2-40B4-BE49-F238E27FC236}">
                  <a16:creationId xmlns:a16="http://schemas.microsoft.com/office/drawing/2014/main" id="{8B33828C-7F87-F9D9-8D15-2B3063EAC26E}"/>
                </a:ext>
              </a:extLst>
            </p:cNvPr>
            <p:cNvSpPr>
              <a:spLocks noChangeArrowheads="1"/>
            </p:cNvSpPr>
            <p:nvPr/>
          </p:nvSpPr>
          <p:spPr bwMode="auto">
            <a:xfrm>
              <a:off x="4954588" y="2212975"/>
              <a:ext cx="144463" cy="147638"/>
            </a:xfrm>
            <a:prstGeom prst="ellipse">
              <a:avLst/>
            </a:pr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110">
              <a:extLst>
                <a:ext uri="{FF2B5EF4-FFF2-40B4-BE49-F238E27FC236}">
                  <a16:creationId xmlns:a16="http://schemas.microsoft.com/office/drawing/2014/main" id="{388A3808-24A7-F5EB-363C-6F98E23A3EDD}"/>
                </a:ext>
              </a:extLst>
            </p:cNvPr>
            <p:cNvSpPr>
              <a:spLocks/>
            </p:cNvSpPr>
            <p:nvPr/>
          </p:nvSpPr>
          <p:spPr bwMode="auto">
            <a:xfrm>
              <a:off x="4954588" y="2212975"/>
              <a:ext cx="122238" cy="120650"/>
            </a:xfrm>
            <a:custGeom>
              <a:avLst/>
              <a:gdLst>
                <a:gd name="T0" fmla="*/ 19 w 32"/>
                <a:gd name="T1" fmla="*/ 0 h 32"/>
                <a:gd name="T2" fmla="*/ 0 w 32"/>
                <a:gd name="T3" fmla="*/ 20 h 32"/>
                <a:gd name="T4" fmla="*/ 4 w 32"/>
                <a:gd name="T5" fmla="*/ 32 h 32"/>
                <a:gd name="T6" fmla="*/ 32 w 32"/>
                <a:gd name="T7" fmla="*/ 5 h 32"/>
                <a:gd name="T8" fmla="*/ 19 w 32"/>
                <a:gd name="T9" fmla="*/ 0 h 32"/>
              </a:gdLst>
              <a:ahLst/>
              <a:cxnLst>
                <a:cxn ang="0">
                  <a:pos x="T0" y="T1"/>
                </a:cxn>
                <a:cxn ang="0">
                  <a:pos x="T2" y="T3"/>
                </a:cxn>
                <a:cxn ang="0">
                  <a:pos x="T4" y="T5"/>
                </a:cxn>
                <a:cxn ang="0">
                  <a:pos x="T6" y="T7"/>
                </a:cxn>
                <a:cxn ang="0">
                  <a:pos x="T8" y="T9"/>
                </a:cxn>
              </a:cxnLst>
              <a:rect l="0" t="0" r="r" b="b"/>
              <a:pathLst>
                <a:path w="32" h="32">
                  <a:moveTo>
                    <a:pt x="19" y="0"/>
                  </a:moveTo>
                  <a:cubicBezTo>
                    <a:pt x="8" y="0"/>
                    <a:pt x="0" y="9"/>
                    <a:pt x="0" y="20"/>
                  </a:cubicBezTo>
                  <a:cubicBezTo>
                    <a:pt x="0" y="24"/>
                    <a:pt x="2" y="29"/>
                    <a:pt x="4" y="32"/>
                  </a:cubicBezTo>
                  <a:cubicBezTo>
                    <a:pt x="32" y="5"/>
                    <a:pt x="32" y="5"/>
                    <a:pt x="32" y="5"/>
                  </a:cubicBezTo>
                  <a:cubicBezTo>
                    <a:pt x="28" y="2"/>
                    <a:pt x="24" y="0"/>
                    <a:pt x="19" y="0"/>
                  </a:cubicBez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0" name="Group 139">
            <a:extLst>
              <a:ext uri="{FF2B5EF4-FFF2-40B4-BE49-F238E27FC236}">
                <a16:creationId xmlns:a16="http://schemas.microsoft.com/office/drawing/2014/main" id="{216BCFA5-274C-B98A-5107-2D80CC4E444C}"/>
              </a:ext>
            </a:extLst>
          </p:cNvPr>
          <p:cNvGrpSpPr/>
          <p:nvPr/>
        </p:nvGrpSpPr>
        <p:grpSpPr>
          <a:xfrm>
            <a:off x="4943638" y="1908197"/>
            <a:ext cx="297456" cy="297457"/>
            <a:chOff x="6773863" y="639763"/>
            <a:chExt cx="771525" cy="771526"/>
          </a:xfrm>
          <a:effectLst>
            <a:outerShdw dist="38100" dir="2700000" algn="tl" rotWithShape="0">
              <a:prstClr val="black">
                <a:alpha val="20000"/>
              </a:prstClr>
            </a:outerShdw>
          </a:effectLst>
        </p:grpSpPr>
        <p:sp>
          <p:nvSpPr>
            <p:cNvPr id="142" name="Freeform 54">
              <a:extLst>
                <a:ext uri="{FF2B5EF4-FFF2-40B4-BE49-F238E27FC236}">
                  <a16:creationId xmlns:a16="http://schemas.microsoft.com/office/drawing/2014/main" id="{6A044999-BCCD-E9B3-A33A-85178335093A}"/>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5">
              <a:extLst>
                <a:ext uri="{FF2B5EF4-FFF2-40B4-BE49-F238E27FC236}">
                  <a16:creationId xmlns:a16="http://schemas.microsoft.com/office/drawing/2014/main" id="{E949CA6B-04BD-2F54-BF64-77B8CFB06621}"/>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6">
              <a:extLst>
                <a:ext uri="{FF2B5EF4-FFF2-40B4-BE49-F238E27FC236}">
                  <a16:creationId xmlns:a16="http://schemas.microsoft.com/office/drawing/2014/main" id="{CFECAED2-7945-B470-F103-47E3817BEFF6}"/>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Rectangle 57">
              <a:extLst>
                <a:ext uri="{FF2B5EF4-FFF2-40B4-BE49-F238E27FC236}">
                  <a16:creationId xmlns:a16="http://schemas.microsoft.com/office/drawing/2014/main" id="{EB525394-760C-F960-5C1C-6C5CD9AB0A51}"/>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Rectangle 58">
              <a:extLst>
                <a:ext uri="{FF2B5EF4-FFF2-40B4-BE49-F238E27FC236}">
                  <a16:creationId xmlns:a16="http://schemas.microsoft.com/office/drawing/2014/main" id="{8670368F-7A7F-D835-02E0-A071CE8F7762}"/>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Rectangle 59">
              <a:extLst>
                <a:ext uri="{FF2B5EF4-FFF2-40B4-BE49-F238E27FC236}">
                  <a16:creationId xmlns:a16="http://schemas.microsoft.com/office/drawing/2014/main" id="{EDC72816-C10E-6842-6B6C-DF5ECE3F3603}"/>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Rectangle 60">
              <a:extLst>
                <a:ext uri="{FF2B5EF4-FFF2-40B4-BE49-F238E27FC236}">
                  <a16:creationId xmlns:a16="http://schemas.microsoft.com/office/drawing/2014/main" id="{4A22A0A1-F346-8A83-A738-6A26A2140151}"/>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Rectangle 61">
              <a:extLst>
                <a:ext uri="{FF2B5EF4-FFF2-40B4-BE49-F238E27FC236}">
                  <a16:creationId xmlns:a16="http://schemas.microsoft.com/office/drawing/2014/main" id="{52A8AFBB-0B63-9667-4C9A-38F8F9E5EBC8}"/>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Rectangle 62">
              <a:extLst>
                <a:ext uri="{FF2B5EF4-FFF2-40B4-BE49-F238E27FC236}">
                  <a16:creationId xmlns:a16="http://schemas.microsoft.com/office/drawing/2014/main" id="{197EECFE-F20A-98FD-6C79-E38E621142E2}"/>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Rectangle 63">
              <a:extLst>
                <a:ext uri="{FF2B5EF4-FFF2-40B4-BE49-F238E27FC236}">
                  <a16:creationId xmlns:a16="http://schemas.microsoft.com/office/drawing/2014/main" id="{9F57A1F7-1B3D-62F5-762D-D6EE0FFC5501}"/>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Rectangle 64">
              <a:extLst>
                <a:ext uri="{FF2B5EF4-FFF2-40B4-BE49-F238E27FC236}">
                  <a16:creationId xmlns:a16="http://schemas.microsoft.com/office/drawing/2014/main" id="{5ADDAED8-1C35-2372-9D41-4E290BA1DF80}"/>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Rectangle 65">
              <a:extLst>
                <a:ext uri="{FF2B5EF4-FFF2-40B4-BE49-F238E27FC236}">
                  <a16:creationId xmlns:a16="http://schemas.microsoft.com/office/drawing/2014/main" id="{31943D31-4556-BAE1-0481-37F5517752BC}"/>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Rectangle 66">
              <a:extLst>
                <a:ext uri="{FF2B5EF4-FFF2-40B4-BE49-F238E27FC236}">
                  <a16:creationId xmlns:a16="http://schemas.microsoft.com/office/drawing/2014/main" id="{AB211900-BB31-D1C5-EE8F-55311D77E0C6}"/>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Rectangle 67">
              <a:extLst>
                <a:ext uri="{FF2B5EF4-FFF2-40B4-BE49-F238E27FC236}">
                  <a16:creationId xmlns:a16="http://schemas.microsoft.com/office/drawing/2014/main" id="{784DC6AD-563F-0292-F9E1-9927A19DCFEF}"/>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Rectangle 68">
              <a:extLst>
                <a:ext uri="{FF2B5EF4-FFF2-40B4-BE49-F238E27FC236}">
                  <a16:creationId xmlns:a16="http://schemas.microsoft.com/office/drawing/2014/main" id="{038E3B80-1646-3EF9-2EB8-6FF9CEEC7C4E}"/>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69">
              <a:extLst>
                <a:ext uri="{FF2B5EF4-FFF2-40B4-BE49-F238E27FC236}">
                  <a16:creationId xmlns:a16="http://schemas.microsoft.com/office/drawing/2014/main" id="{20D9AC78-94F5-81DC-7E76-871E7C37CE6C}"/>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70">
              <a:extLst>
                <a:ext uri="{FF2B5EF4-FFF2-40B4-BE49-F238E27FC236}">
                  <a16:creationId xmlns:a16="http://schemas.microsoft.com/office/drawing/2014/main" id="{666A0468-A7A6-1F5D-8DD1-2D0DC1773B5B}"/>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71">
              <a:extLst>
                <a:ext uri="{FF2B5EF4-FFF2-40B4-BE49-F238E27FC236}">
                  <a16:creationId xmlns:a16="http://schemas.microsoft.com/office/drawing/2014/main" id="{D7990783-F924-AA88-5D3B-6EB2EDEE267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 name="Picture 2" descr="A red and blue text on a black background&#10;&#10;Description automatically generated">
            <a:extLst>
              <a:ext uri="{FF2B5EF4-FFF2-40B4-BE49-F238E27FC236}">
                <a16:creationId xmlns:a16="http://schemas.microsoft.com/office/drawing/2014/main" id="{69F80DA5-3156-8F80-9778-C6A8C9B9FC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65979" y="-499613"/>
            <a:ext cx="1808680" cy="1808680"/>
          </a:xfrm>
          <a:prstGeom prst="rect">
            <a:avLst/>
          </a:prstGeom>
        </p:spPr>
      </p:pic>
      <p:sp>
        <p:nvSpPr>
          <p:cNvPr id="4" name="Title 1">
            <a:extLst>
              <a:ext uri="{FF2B5EF4-FFF2-40B4-BE49-F238E27FC236}">
                <a16:creationId xmlns:a16="http://schemas.microsoft.com/office/drawing/2014/main" id="{C1E2801C-8D9D-0D45-1534-E30C007840AD}"/>
              </a:ext>
            </a:extLst>
          </p:cNvPr>
          <p:cNvSpPr txBox="1">
            <a:spLocks/>
          </p:cNvSpPr>
          <p:nvPr/>
        </p:nvSpPr>
        <p:spPr>
          <a:xfrm>
            <a:off x="459684" y="1499203"/>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RM templates to deploy and manage Logic Apps, as it allows for versioning and repeatable deployments</a:t>
            </a:r>
          </a:p>
        </p:txBody>
      </p:sp>
      <p:sp>
        <p:nvSpPr>
          <p:cNvPr id="6" name="Title 1">
            <a:extLst>
              <a:ext uri="{FF2B5EF4-FFF2-40B4-BE49-F238E27FC236}">
                <a16:creationId xmlns:a16="http://schemas.microsoft.com/office/drawing/2014/main" id="{B59E7CF3-0BA0-D117-2A81-06A563596180}"/>
              </a:ext>
            </a:extLst>
          </p:cNvPr>
          <p:cNvSpPr txBox="1">
            <a:spLocks/>
          </p:cNvSpPr>
          <p:nvPr/>
        </p:nvSpPr>
        <p:spPr>
          <a:xfrm>
            <a:off x="246583" y="3117162"/>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Monitor to collect and analyze log data, and set up alerts for important events</a:t>
            </a:r>
          </a:p>
        </p:txBody>
      </p:sp>
      <p:sp>
        <p:nvSpPr>
          <p:cNvPr id="7" name="Title 1">
            <a:extLst>
              <a:ext uri="{FF2B5EF4-FFF2-40B4-BE49-F238E27FC236}">
                <a16:creationId xmlns:a16="http://schemas.microsoft.com/office/drawing/2014/main" id="{68FECC1F-4206-4503-8D24-E0AC1650EC16}"/>
              </a:ext>
            </a:extLst>
          </p:cNvPr>
          <p:cNvSpPr txBox="1">
            <a:spLocks/>
          </p:cNvSpPr>
          <p:nvPr/>
        </p:nvSpPr>
        <p:spPr>
          <a:xfrm>
            <a:off x="260179" y="4415316"/>
            <a:ext cx="2450059" cy="73991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RM policies to enforce compliance and governance policies on resources.</a:t>
            </a:r>
          </a:p>
        </p:txBody>
      </p:sp>
      <p:sp>
        <p:nvSpPr>
          <p:cNvPr id="8" name="Title 1">
            <a:extLst>
              <a:ext uri="{FF2B5EF4-FFF2-40B4-BE49-F238E27FC236}">
                <a16:creationId xmlns:a16="http://schemas.microsoft.com/office/drawing/2014/main" id="{43AF44D5-7585-70E1-9ABD-5B3AC6B7935C}"/>
              </a:ext>
            </a:extLst>
          </p:cNvPr>
          <p:cNvSpPr txBox="1">
            <a:spLocks/>
          </p:cNvSpPr>
          <p:nvPr/>
        </p:nvSpPr>
        <p:spPr>
          <a:xfrm>
            <a:off x="9269639" y="4518155"/>
            <a:ext cx="2247595" cy="758651"/>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DevOps to manage the code, testing, and deployment of Logic Apps.</a:t>
            </a:r>
          </a:p>
        </p:txBody>
      </p:sp>
      <p:sp>
        <p:nvSpPr>
          <p:cNvPr id="9" name="Title 1">
            <a:extLst>
              <a:ext uri="{FF2B5EF4-FFF2-40B4-BE49-F238E27FC236}">
                <a16:creationId xmlns:a16="http://schemas.microsoft.com/office/drawing/2014/main" id="{7BC50EFB-67AF-E4AB-39F0-47ADA8264C4E}"/>
              </a:ext>
            </a:extLst>
          </p:cNvPr>
          <p:cNvSpPr txBox="1">
            <a:spLocks/>
          </p:cNvSpPr>
          <p:nvPr/>
        </p:nvSpPr>
        <p:spPr>
          <a:xfrm>
            <a:off x="9476929" y="3159623"/>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zure Key Vault to store and manage secrets and certificates that are used by Logic Apps</a:t>
            </a:r>
          </a:p>
        </p:txBody>
      </p:sp>
      <p:sp>
        <p:nvSpPr>
          <p:cNvPr id="10" name="Title 1">
            <a:extLst>
              <a:ext uri="{FF2B5EF4-FFF2-40B4-BE49-F238E27FC236}">
                <a16:creationId xmlns:a16="http://schemas.microsoft.com/office/drawing/2014/main" id="{CABDD8B9-F576-B5CF-2008-29B8E03D151B}"/>
              </a:ext>
            </a:extLst>
          </p:cNvPr>
          <p:cNvSpPr txBox="1">
            <a:spLocks/>
          </p:cNvSpPr>
          <p:nvPr/>
        </p:nvSpPr>
        <p:spPr>
          <a:xfrm>
            <a:off x="9012145" y="1385480"/>
            <a:ext cx="2450059" cy="81742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hoosing between pay as you go (consumption based) or standard logic apps is crucial. </a:t>
            </a:r>
          </a:p>
        </p:txBody>
      </p:sp>
      <p:pic>
        <p:nvPicPr>
          <p:cNvPr id="12" name="Picture 2">
            <a:extLst>
              <a:ext uri="{FF2B5EF4-FFF2-40B4-BE49-F238E27FC236}">
                <a16:creationId xmlns:a16="http://schemas.microsoft.com/office/drawing/2014/main" id="{ED5B9ADE-998D-C058-6647-08FB53323D40}"/>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757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84EE2-16B6-143E-0629-A40134E4979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80783E-E5C5-BA1F-1200-0E09B7088F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8280783E-E5C5-BA1F-1200-0E09B7088F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87758D4-7C9E-62AE-6990-F8827AE253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4" name="Freeform 46">
            <a:extLst>
              <a:ext uri="{FF2B5EF4-FFF2-40B4-BE49-F238E27FC236}">
                <a16:creationId xmlns:a16="http://schemas.microsoft.com/office/drawing/2014/main" id="{7267908E-B93E-FBFE-80BC-8B457243F0A5}"/>
              </a:ext>
            </a:extLst>
          </p:cNvPr>
          <p:cNvSpPr/>
          <p:nvPr/>
        </p:nvSpPr>
        <p:spPr>
          <a:xfrm>
            <a:off x="7225681" y="1104290"/>
            <a:ext cx="2549756"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46">
            <a:extLst>
              <a:ext uri="{FF2B5EF4-FFF2-40B4-BE49-F238E27FC236}">
                <a16:creationId xmlns:a16="http://schemas.microsoft.com/office/drawing/2014/main" id="{D689DDBF-D93D-57FC-B003-95CC78423DB1}"/>
              </a:ext>
            </a:extLst>
          </p:cNvPr>
          <p:cNvSpPr/>
          <p:nvPr/>
        </p:nvSpPr>
        <p:spPr>
          <a:xfrm>
            <a:off x="8150894" y="3202303"/>
            <a:ext cx="2235164"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Freeform 46">
            <a:extLst>
              <a:ext uri="{FF2B5EF4-FFF2-40B4-BE49-F238E27FC236}">
                <a16:creationId xmlns:a16="http://schemas.microsoft.com/office/drawing/2014/main" id="{BC34DCDC-1AD4-DB82-631C-4BE93684D351}"/>
              </a:ext>
            </a:extLst>
          </p:cNvPr>
          <p:cNvSpPr/>
          <p:nvPr/>
        </p:nvSpPr>
        <p:spPr>
          <a:xfrm>
            <a:off x="7225681" y="4961915"/>
            <a:ext cx="272385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任意多边形: 形状 16">
            <a:extLst>
              <a:ext uri="{FF2B5EF4-FFF2-40B4-BE49-F238E27FC236}">
                <a16:creationId xmlns:a16="http://schemas.microsoft.com/office/drawing/2014/main" id="{3408C4AC-39EE-BE58-74E2-00E0D63A520F}"/>
              </a:ext>
            </a:extLst>
          </p:cNvPr>
          <p:cNvSpPr/>
          <p:nvPr/>
        </p:nvSpPr>
        <p:spPr>
          <a:xfrm rot="5400000" flipH="1">
            <a:off x="459329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形状 16">
            <a:extLst>
              <a:ext uri="{FF2B5EF4-FFF2-40B4-BE49-F238E27FC236}">
                <a16:creationId xmlns:a16="http://schemas.microsoft.com/office/drawing/2014/main" id="{2453A6C0-F305-8CF2-6CBE-1E64F3DBFCB7}"/>
              </a:ext>
            </a:extLst>
          </p:cNvPr>
          <p:cNvSpPr/>
          <p:nvPr/>
        </p:nvSpPr>
        <p:spPr>
          <a:xfrm rot="5400000" flipH="1">
            <a:off x="459329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Rectángulo 6175">
            <a:extLst>
              <a:ext uri="{FF2B5EF4-FFF2-40B4-BE49-F238E27FC236}">
                <a16:creationId xmlns:a16="http://schemas.microsoft.com/office/drawing/2014/main" id="{14ADA189-E25B-8138-F933-1F5D84B60917}"/>
              </a:ext>
            </a:extLst>
          </p:cNvPr>
          <p:cNvSpPr/>
          <p:nvPr/>
        </p:nvSpPr>
        <p:spPr>
          <a:xfrm>
            <a:off x="1" y="0"/>
            <a:ext cx="5545550"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任意多边形: 形状 16">
            <a:extLst>
              <a:ext uri="{FF2B5EF4-FFF2-40B4-BE49-F238E27FC236}">
                <a16:creationId xmlns:a16="http://schemas.microsoft.com/office/drawing/2014/main" id="{689F783D-41EA-6655-6D26-88BF21749DCD}"/>
              </a:ext>
            </a:extLst>
          </p:cNvPr>
          <p:cNvSpPr/>
          <p:nvPr/>
        </p:nvSpPr>
        <p:spPr>
          <a:xfrm rot="5400000" flipH="1">
            <a:off x="4255769"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6">
            <a:extLst>
              <a:ext uri="{FF2B5EF4-FFF2-40B4-BE49-F238E27FC236}">
                <a16:creationId xmlns:a16="http://schemas.microsoft.com/office/drawing/2014/main" id="{53433134-A15F-F552-A176-B12411B881B4}"/>
              </a:ext>
            </a:extLst>
          </p:cNvPr>
          <p:cNvSpPr/>
          <p:nvPr/>
        </p:nvSpPr>
        <p:spPr>
          <a:xfrm rot="5400000" flipH="1">
            <a:off x="4255769"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Oval 3">
            <a:extLst>
              <a:ext uri="{FF2B5EF4-FFF2-40B4-BE49-F238E27FC236}">
                <a16:creationId xmlns:a16="http://schemas.microsoft.com/office/drawing/2014/main" id="{0DB5631E-A246-2B33-2FD9-8A6AE76AFFB5}"/>
              </a:ext>
            </a:extLst>
          </p:cNvPr>
          <p:cNvSpPr/>
          <p:nvPr/>
        </p:nvSpPr>
        <p:spPr>
          <a:xfrm>
            <a:off x="3650343" y="983343"/>
            <a:ext cx="4891314" cy="4891314"/>
          </a:xfrm>
          <a:prstGeom prst="ellipse">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D6A19B26-336A-3F66-09FD-8386DB77B7D6}"/>
              </a:ext>
            </a:extLst>
          </p:cNvPr>
          <p:cNvSpPr>
            <a:spLocks noGrp="1"/>
          </p:cNvSpPr>
          <p:nvPr>
            <p:ph type="title"/>
          </p:nvPr>
        </p:nvSpPr>
        <p:spPr>
          <a:xfrm>
            <a:off x="657074" y="545374"/>
            <a:ext cx="2499618" cy="1496290"/>
          </a:xfrm>
        </p:spPr>
        <p:txBody>
          <a:bodyPr lIns="0" rIns="0">
            <a:noAutofit/>
          </a:bodyPr>
          <a:lstStyle/>
          <a:p>
            <a:r>
              <a:rPr lang="en-US" sz="3600" b="1">
                <a:solidFill>
                  <a:schemeClr val="bg1"/>
                </a:solidFill>
                <a:latin typeface="Segoe UI" panose="020B0502040204020203" pitchFamily="34" charset="0"/>
                <a:cs typeface="Segoe UI" panose="020B0502040204020203" pitchFamily="34" charset="0"/>
              </a:rPr>
              <a:t>How to Handle Errors</a:t>
            </a:r>
            <a:endParaRPr lang="en-US" sz="36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itle 1">
            <a:extLst>
              <a:ext uri="{FF2B5EF4-FFF2-40B4-BE49-F238E27FC236}">
                <a16:creationId xmlns:a16="http://schemas.microsoft.com/office/drawing/2014/main" id="{9F0F5058-6CAF-22B2-A0ED-857790F01846}"/>
              </a:ext>
            </a:extLst>
          </p:cNvPr>
          <p:cNvSpPr txBox="1">
            <a:spLocks/>
          </p:cNvSpPr>
          <p:nvPr/>
        </p:nvSpPr>
        <p:spPr>
          <a:xfrm>
            <a:off x="431000" y="2873300"/>
            <a:ext cx="2559051" cy="322645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a:solidFill>
                  <a:schemeClr val="bg1"/>
                </a:solidFill>
                <a:latin typeface="Segoe UI" panose="020B0502040204020203" pitchFamily="34" charset="0"/>
                <a:cs typeface="Segoe UI" panose="020B0502040204020203" pitchFamily="34" charset="0"/>
              </a:rPr>
              <a:t>Understanding and managing errors is crucial in maintaining the efficiency and reliability of your APIs. Proper error handling not only improves user experience but also aids in the rapid resolution of potential issues, ensuring system robustness. </a:t>
            </a:r>
          </a:p>
        </p:txBody>
      </p:sp>
      <p:sp>
        <p:nvSpPr>
          <p:cNvPr id="27" name="Arc 26">
            <a:extLst>
              <a:ext uri="{FF2B5EF4-FFF2-40B4-BE49-F238E27FC236}">
                <a16:creationId xmlns:a16="http://schemas.microsoft.com/office/drawing/2014/main" id="{20074DCD-1A70-4208-4A7A-0600991143B1}"/>
              </a:ext>
            </a:extLst>
          </p:cNvPr>
          <p:cNvSpPr/>
          <p:nvPr/>
        </p:nvSpPr>
        <p:spPr>
          <a:xfrm>
            <a:off x="3862388" y="1195388"/>
            <a:ext cx="4467224" cy="4467224"/>
          </a:xfrm>
          <a:prstGeom prst="arc">
            <a:avLst>
              <a:gd name="adj1" fmla="val 14589245"/>
              <a:gd name="adj2" fmla="val 11716576"/>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 name="Group 19">
            <a:extLst>
              <a:ext uri="{FF2B5EF4-FFF2-40B4-BE49-F238E27FC236}">
                <a16:creationId xmlns:a16="http://schemas.microsoft.com/office/drawing/2014/main" id="{11C32C77-4E04-D2A1-ECC5-442CB3C09C26}"/>
              </a:ext>
            </a:extLst>
          </p:cNvPr>
          <p:cNvGrpSpPr/>
          <p:nvPr/>
        </p:nvGrpSpPr>
        <p:grpSpPr>
          <a:xfrm>
            <a:off x="7074409" y="984769"/>
            <a:ext cx="971518" cy="971518"/>
            <a:chOff x="7187500" y="839949"/>
            <a:chExt cx="1422400" cy="1422400"/>
          </a:xfrm>
        </p:grpSpPr>
        <p:sp>
          <p:nvSpPr>
            <p:cNvPr id="18" name="Oval 17">
              <a:extLst>
                <a:ext uri="{FF2B5EF4-FFF2-40B4-BE49-F238E27FC236}">
                  <a16:creationId xmlns:a16="http://schemas.microsoft.com/office/drawing/2014/main" id="{FF01CED8-91B0-7A97-F39C-96EA8DCD3EF2}"/>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39F0ECE-FAB9-D9FF-3284-7ABF3C1BA160}"/>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0D0A71F9-5C27-3FB5-EEEB-2CA1DDCFA25C}"/>
              </a:ext>
            </a:extLst>
          </p:cNvPr>
          <p:cNvGrpSpPr/>
          <p:nvPr/>
        </p:nvGrpSpPr>
        <p:grpSpPr>
          <a:xfrm>
            <a:off x="7074409" y="4856124"/>
            <a:ext cx="971518" cy="971518"/>
            <a:chOff x="7187500" y="839949"/>
            <a:chExt cx="1422400" cy="1422400"/>
          </a:xfrm>
        </p:grpSpPr>
        <p:sp>
          <p:nvSpPr>
            <p:cNvPr id="22" name="Oval 21">
              <a:extLst>
                <a:ext uri="{FF2B5EF4-FFF2-40B4-BE49-F238E27FC236}">
                  <a16:creationId xmlns:a16="http://schemas.microsoft.com/office/drawing/2014/main" id="{BC30F8D2-D619-D940-0553-8CA1F7B1CDB0}"/>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E81F9ED-B7B5-5F0A-B7BB-5451636F2823}"/>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A777772F-D305-FEC5-BCCD-ED00F40E3ECE}"/>
              </a:ext>
            </a:extLst>
          </p:cNvPr>
          <p:cNvGrpSpPr/>
          <p:nvPr/>
        </p:nvGrpSpPr>
        <p:grpSpPr>
          <a:xfrm>
            <a:off x="8024435" y="2920446"/>
            <a:ext cx="971518" cy="971518"/>
            <a:chOff x="7187500" y="839949"/>
            <a:chExt cx="1422400" cy="1422400"/>
          </a:xfrm>
        </p:grpSpPr>
        <p:sp>
          <p:nvSpPr>
            <p:cNvPr id="25" name="Oval 24">
              <a:extLst>
                <a:ext uri="{FF2B5EF4-FFF2-40B4-BE49-F238E27FC236}">
                  <a16:creationId xmlns:a16="http://schemas.microsoft.com/office/drawing/2014/main" id="{C6E8AE60-0D1C-D992-EE8D-D4310454B6D8}"/>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5DEBF0D1-F698-6BE2-E04D-F6D73FC4634D}"/>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itle 1">
            <a:extLst>
              <a:ext uri="{FF2B5EF4-FFF2-40B4-BE49-F238E27FC236}">
                <a16:creationId xmlns:a16="http://schemas.microsoft.com/office/drawing/2014/main" id="{1CE8EEC6-D170-9447-E55F-D8913FCD05B8}"/>
              </a:ext>
            </a:extLst>
          </p:cNvPr>
          <p:cNvSpPr txBox="1">
            <a:spLocks/>
          </p:cNvSpPr>
          <p:nvPr/>
        </p:nvSpPr>
        <p:spPr>
          <a:xfrm>
            <a:off x="8177683" y="1121176"/>
            <a:ext cx="1541185" cy="590707"/>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rror Identification</a:t>
            </a:r>
          </a:p>
        </p:txBody>
      </p:sp>
      <p:sp>
        <p:nvSpPr>
          <p:cNvPr id="32" name="Title 1">
            <a:extLst>
              <a:ext uri="{FF2B5EF4-FFF2-40B4-BE49-F238E27FC236}">
                <a16:creationId xmlns:a16="http://schemas.microsoft.com/office/drawing/2014/main" id="{7DDC9ECC-C37A-7608-9CE2-1C35B46A475A}"/>
              </a:ext>
            </a:extLst>
          </p:cNvPr>
          <p:cNvSpPr txBox="1">
            <a:spLocks/>
          </p:cNvSpPr>
          <p:nvPr/>
        </p:nvSpPr>
        <p:spPr>
          <a:xfrm>
            <a:off x="8316750" y="5069065"/>
            <a:ext cx="1458686" cy="555259"/>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User Comm / Resolution</a:t>
            </a:r>
          </a:p>
        </p:txBody>
      </p:sp>
      <p:sp>
        <p:nvSpPr>
          <p:cNvPr id="33" name="Title 1">
            <a:extLst>
              <a:ext uri="{FF2B5EF4-FFF2-40B4-BE49-F238E27FC236}">
                <a16:creationId xmlns:a16="http://schemas.microsoft.com/office/drawing/2014/main" id="{7F30AB4B-B8F0-3DDB-6E05-EBCBB7373587}"/>
              </a:ext>
            </a:extLst>
          </p:cNvPr>
          <p:cNvSpPr txBox="1">
            <a:spLocks/>
          </p:cNvSpPr>
          <p:nvPr/>
        </p:nvSpPr>
        <p:spPr>
          <a:xfrm>
            <a:off x="9200245" y="3252997"/>
            <a:ext cx="1150383"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a:solidFill>
                  <a:schemeClr val="tx1">
                    <a:lumMod val="75000"/>
                    <a:lumOff val="25000"/>
                  </a:schemeClr>
                </a:solidFill>
                <a:latin typeface="Segoe UI" panose="020B0502040204020203" pitchFamily="34" charset="0"/>
                <a:cs typeface="Segoe UI" panose="020B0502040204020203" pitchFamily="34" charset="0"/>
              </a:rPr>
              <a:t>Error Logging</a:t>
            </a:r>
          </a:p>
        </p:txBody>
      </p:sp>
      <p:sp>
        <p:nvSpPr>
          <p:cNvPr id="37" name="Title 1">
            <a:extLst>
              <a:ext uri="{FF2B5EF4-FFF2-40B4-BE49-F238E27FC236}">
                <a16:creationId xmlns:a16="http://schemas.microsoft.com/office/drawing/2014/main" id="{492325D3-ECA5-5316-35ED-01A685F2A969}"/>
              </a:ext>
            </a:extLst>
          </p:cNvPr>
          <p:cNvSpPr txBox="1">
            <a:spLocks/>
          </p:cNvSpPr>
          <p:nvPr/>
        </p:nvSpPr>
        <p:spPr>
          <a:xfrm>
            <a:off x="9824008" y="774253"/>
            <a:ext cx="2360365" cy="1038532"/>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utomate detection</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lert mechanisms for real time notifications</a:t>
            </a:r>
          </a:p>
        </p:txBody>
      </p:sp>
      <p:sp>
        <p:nvSpPr>
          <p:cNvPr id="38" name="Title 1">
            <a:extLst>
              <a:ext uri="{FF2B5EF4-FFF2-40B4-BE49-F238E27FC236}">
                <a16:creationId xmlns:a16="http://schemas.microsoft.com/office/drawing/2014/main" id="{38EE0876-FC59-5FF2-081C-CC3077F15525}"/>
              </a:ext>
            </a:extLst>
          </p:cNvPr>
          <p:cNvSpPr txBox="1">
            <a:spLocks/>
          </p:cNvSpPr>
          <p:nvPr/>
        </p:nvSpPr>
        <p:spPr>
          <a:xfrm>
            <a:off x="10401685" y="3004352"/>
            <a:ext cx="1782688" cy="1099242"/>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Comprehensive logging</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Analytics</a:t>
            </a:r>
          </a:p>
        </p:txBody>
      </p:sp>
      <p:sp>
        <p:nvSpPr>
          <p:cNvPr id="39" name="Title 1">
            <a:extLst>
              <a:ext uri="{FF2B5EF4-FFF2-40B4-BE49-F238E27FC236}">
                <a16:creationId xmlns:a16="http://schemas.microsoft.com/office/drawing/2014/main" id="{5260961D-C923-2C4E-C0AB-05B3BFCE1DAE}"/>
              </a:ext>
            </a:extLst>
          </p:cNvPr>
          <p:cNvSpPr txBox="1">
            <a:spLocks/>
          </p:cNvSpPr>
          <p:nvPr/>
        </p:nvSpPr>
        <p:spPr>
          <a:xfrm>
            <a:off x="10189229" y="4725350"/>
            <a:ext cx="2130524" cy="134442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Tailored communications</a:t>
            </a:r>
          </a:p>
          <a:p>
            <a:pPr marL="285750" indent="-285750">
              <a:lnSpc>
                <a:spcPct val="100000"/>
              </a:lnSpc>
              <a:spcAft>
                <a:spcPts val="1200"/>
              </a:spcAft>
              <a:buFontTx/>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Swift resolution practices</a:t>
            </a:r>
          </a:p>
        </p:txBody>
      </p:sp>
      <p:cxnSp>
        <p:nvCxnSpPr>
          <p:cNvPr id="41" name="Straight Connector 40">
            <a:extLst>
              <a:ext uri="{FF2B5EF4-FFF2-40B4-BE49-F238E27FC236}">
                <a16:creationId xmlns:a16="http://schemas.microsoft.com/office/drawing/2014/main" id="{0AD81B5A-7813-D61A-2BDA-F8D017BAF1FF}"/>
              </a:ext>
            </a:extLst>
          </p:cNvPr>
          <p:cNvCxnSpPr/>
          <p:nvPr/>
        </p:nvCxnSpPr>
        <p:spPr>
          <a:xfrm>
            <a:off x="8680862" y="2410691"/>
            <a:ext cx="305195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600BF44-2BB8-9CA2-68BD-03AF7549CFB9}"/>
              </a:ext>
            </a:extLst>
          </p:cNvPr>
          <p:cNvCxnSpPr/>
          <p:nvPr/>
        </p:nvCxnSpPr>
        <p:spPr>
          <a:xfrm>
            <a:off x="8680862" y="4374700"/>
            <a:ext cx="305195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E12EB425-B595-5893-E10D-9DEE50B19984}"/>
              </a:ext>
            </a:extLst>
          </p:cNvPr>
          <p:cNvGrpSpPr/>
          <p:nvPr/>
        </p:nvGrpSpPr>
        <p:grpSpPr>
          <a:xfrm>
            <a:off x="8352866" y="3261826"/>
            <a:ext cx="314657" cy="288759"/>
            <a:chOff x="10487025" y="5419725"/>
            <a:chExt cx="771525" cy="708026"/>
          </a:xfrm>
          <a:effectLst>
            <a:outerShdw dist="38100" dir="2700000" algn="tl" rotWithShape="0">
              <a:prstClr val="black">
                <a:alpha val="20000"/>
              </a:prstClr>
            </a:outerShdw>
          </a:effectLst>
        </p:grpSpPr>
        <p:sp>
          <p:nvSpPr>
            <p:cNvPr id="45" name="Freeform 367">
              <a:extLst>
                <a:ext uri="{FF2B5EF4-FFF2-40B4-BE49-F238E27FC236}">
                  <a16:creationId xmlns:a16="http://schemas.microsoft.com/office/drawing/2014/main" id="{9BC46158-C7A1-8D54-4986-FE62F4A4353B}"/>
                </a:ext>
              </a:extLst>
            </p:cNvPr>
            <p:cNvSpPr>
              <a:spLocks/>
            </p:cNvSpPr>
            <p:nvPr/>
          </p:nvSpPr>
          <p:spPr bwMode="auto">
            <a:xfrm>
              <a:off x="10487025" y="5419725"/>
              <a:ext cx="771525" cy="631825"/>
            </a:xfrm>
            <a:custGeom>
              <a:avLst/>
              <a:gdLst>
                <a:gd name="T0" fmla="*/ 179 w 204"/>
                <a:gd name="T1" fmla="*/ 0 h 167"/>
                <a:gd name="T2" fmla="*/ 204 w 204"/>
                <a:gd name="T3" fmla="*/ 26 h 167"/>
                <a:gd name="T4" fmla="*/ 204 w 204"/>
                <a:gd name="T5" fmla="*/ 141 h 167"/>
                <a:gd name="T6" fmla="*/ 179 w 204"/>
                <a:gd name="T7" fmla="*/ 167 h 167"/>
                <a:gd name="T8" fmla="*/ 25 w 204"/>
                <a:gd name="T9" fmla="*/ 167 h 167"/>
                <a:gd name="T10" fmla="*/ 0 w 204"/>
                <a:gd name="T11" fmla="*/ 141 h 167"/>
                <a:gd name="T12" fmla="*/ 0 w 204"/>
                <a:gd name="T13" fmla="*/ 26 h 167"/>
                <a:gd name="T14" fmla="*/ 25 w 204"/>
                <a:gd name="T15" fmla="*/ 0 h 167"/>
                <a:gd name="T16" fmla="*/ 179 w 204"/>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67">
                  <a:moveTo>
                    <a:pt x="179" y="0"/>
                  </a:moveTo>
                  <a:cubicBezTo>
                    <a:pt x="193" y="0"/>
                    <a:pt x="204" y="12"/>
                    <a:pt x="204" y="26"/>
                  </a:cubicBezTo>
                  <a:cubicBezTo>
                    <a:pt x="204" y="141"/>
                    <a:pt x="204" y="141"/>
                    <a:pt x="204" y="141"/>
                  </a:cubicBezTo>
                  <a:cubicBezTo>
                    <a:pt x="204" y="155"/>
                    <a:pt x="193" y="167"/>
                    <a:pt x="179" y="167"/>
                  </a:cubicBezTo>
                  <a:cubicBezTo>
                    <a:pt x="25" y="167"/>
                    <a:pt x="25" y="167"/>
                    <a:pt x="25" y="167"/>
                  </a:cubicBezTo>
                  <a:cubicBezTo>
                    <a:pt x="11" y="167"/>
                    <a:pt x="0" y="155"/>
                    <a:pt x="0" y="141"/>
                  </a:cubicBezTo>
                  <a:cubicBezTo>
                    <a:pt x="0" y="26"/>
                    <a:pt x="0" y="26"/>
                    <a:pt x="0" y="26"/>
                  </a:cubicBezTo>
                  <a:cubicBezTo>
                    <a:pt x="0" y="12"/>
                    <a:pt x="11" y="0"/>
                    <a:pt x="25" y="0"/>
                  </a:cubicBez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368">
              <a:extLst>
                <a:ext uri="{FF2B5EF4-FFF2-40B4-BE49-F238E27FC236}">
                  <a16:creationId xmlns:a16="http://schemas.microsoft.com/office/drawing/2014/main" id="{13D19B16-CC93-A8E6-67E5-9773BFA33140}"/>
                </a:ext>
              </a:extLst>
            </p:cNvPr>
            <p:cNvSpPr>
              <a:spLocks/>
            </p:cNvSpPr>
            <p:nvPr/>
          </p:nvSpPr>
          <p:spPr bwMode="auto">
            <a:xfrm>
              <a:off x="10604500" y="5922963"/>
              <a:ext cx="204788" cy="204788"/>
            </a:xfrm>
            <a:custGeom>
              <a:avLst/>
              <a:gdLst>
                <a:gd name="T0" fmla="*/ 54 w 54"/>
                <a:gd name="T1" fmla="*/ 15 h 54"/>
                <a:gd name="T2" fmla="*/ 20 w 54"/>
                <a:gd name="T3" fmla="*/ 50 h 54"/>
                <a:gd name="T4" fmla="*/ 4 w 54"/>
                <a:gd name="T5" fmla="*/ 50 h 54"/>
                <a:gd name="T6" fmla="*/ 4 w 54"/>
                <a:gd name="T7" fmla="*/ 34 h 54"/>
                <a:gd name="T8" fmla="*/ 39 w 54"/>
                <a:gd name="T9" fmla="*/ 0 h 54"/>
                <a:gd name="T10" fmla="*/ 54 w 54"/>
                <a:gd name="T11" fmla="*/ 15 h 54"/>
              </a:gdLst>
              <a:ahLst/>
              <a:cxnLst>
                <a:cxn ang="0">
                  <a:pos x="T0" y="T1"/>
                </a:cxn>
                <a:cxn ang="0">
                  <a:pos x="T2" y="T3"/>
                </a:cxn>
                <a:cxn ang="0">
                  <a:pos x="T4" y="T5"/>
                </a:cxn>
                <a:cxn ang="0">
                  <a:pos x="T6" y="T7"/>
                </a:cxn>
                <a:cxn ang="0">
                  <a:pos x="T8" y="T9"/>
                </a:cxn>
                <a:cxn ang="0">
                  <a:pos x="T10" y="T11"/>
                </a:cxn>
              </a:cxnLst>
              <a:rect l="0" t="0" r="r" b="b"/>
              <a:pathLst>
                <a:path w="54" h="54">
                  <a:moveTo>
                    <a:pt x="54" y="15"/>
                  </a:moveTo>
                  <a:cubicBezTo>
                    <a:pt x="20" y="50"/>
                    <a:pt x="20" y="50"/>
                    <a:pt x="20" y="50"/>
                  </a:cubicBezTo>
                  <a:cubicBezTo>
                    <a:pt x="15" y="54"/>
                    <a:pt x="8" y="54"/>
                    <a:pt x="4" y="50"/>
                  </a:cubicBezTo>
                  <a:cubicBezTo>
                    <a:pt x="0" y="45"/>
                    <a:pt x="0" y="38"/>
                    <a:pt x="4" y="34"/>
                  </a:cubicBezTo>
                  <a:cubicBezTo>
                    <a:pt x="39" y="0"/>
                    <a:pt x="39" y="0"/>
                    <a:pt x="39" y="0"/>
                  </a:cubicBezTo>
                  <a:cubicBezTo>
                    <a:pt x="43" y="6"/>
                    <a:pt x="48" y="11"/>
                    <a:pt x="54" y="15"/>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369">
              <a:extLst>
                <a:ext uri="{FF2B5EF4-FFF2-40B4-BE49-F238E27FC236}">
                  <a16:creationId xmlns:a16="http://schemas.microsoft.com/office/drawing/2014/main" id="{FED0C749-9950-17A2-1DA0-43F6B962993E}"/>
                </a:ext>
              </a:extLst>
            </p:cNvPr>
            <p:cNvSpPr>
              <a:spLocks/>
            </p:cNvSpPr>
            <p:nvPr/>
          </p:nvSpPr>
          <p:spPr bwMode="auto">
            <a:xfrm>
              <a:off x="10604500" y="5922963"/>
              <a:ext cx="169863" cy="188913"/>
            </a:xfrm>
            <a:custGeom>
              <a:avLst/>
              <a:gdLst>
                <a:gd name="T0" fmla="*/ 45 w 45"/>
                <a:gd name="T1" fmla="*/ 8 h 50"/>
                <a:gd name="T2" fmla="*/ 4 w 45"/>
                <a:gd name="T3" fmla="*/ 50 h 50"/>
                <a:gd name="T4" fmla="*/ 4 w 45"/>
                <a:gd name="T5" fmla="*/ 34 h 50"/>
                <a:gd name="T6" fmla="*/ 39 w 45"/>
                <a:gd name="T7" fmla="*/ 0 h 50"/>
                <a:gd name="T8" fmla="*/ 45 w 45"/>
                <a:gd name="T9" fmla="*/ 8 h 50"/>
              </a:gdLst>
              <a:ahLst/>
              <a:cxnLst>
                <a:cxn ang="0">
                  <a:pos x="T0" y="T1"/>
                </a:cxn>
                <a:cxn ang="0">
                  <a:pos x="T2" y="T3"/>
                </a:cxn>
                <a:cxn ang="0">
                  <a:pos x="T4" y="T5"/>
                </a:cxn>
                <a:cxn ang="0">
                  <a:pos x="T6" y="T7"/>
                </a:cxn>
                <a:cxn ang="0">
                  <a:pos x="T8" y="T9"/>
                </a:cxn>
              </a:cxnLst>
              <a:rect l="0" t="0" r="r" b="b"/>
              <a:pathLst>
                <a:path w="45" h="50">
                  <a:moveTo>
                    <a:pt x="45" y="8"/>
                  </a:moveTo>
                  <a:cubicBezTo>
                    <a:pt x="4" y="50"/>
                    <a:pt x="4" y="50"/>
                    <a:pt x="4" y="50"/>
                  </a:cubicBezTo>
                  <a:cubicBezTo>
                    <a:pt x="0" y="45"/>
                    <a:pt x="0" y="38"/>
                    <a:pt x="4" y="34"/>
                  </a:cubicBezTo>
                  <a:cubicBezTo>
                    <a:pt x="39" y="0"/>
                    <a:pt x="39" y="0"/>
                    <a:pt x="39" y="0"/>
                  </a:cubicBezTo>
                  <a:cubicBezTo>
                    <a:pt x="41" y="3"/>
                    <a:pt x="43" y="6"/>
                    <a:pt x="45" y="8"/>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Oval 370">
              <a:extLst>
                <a:ext uri="{FF2B5EF4-FFF2-40B4-BE49-F238E27FC236}">
                  <a16:creationId xmlns:a16="http://schemas.microsoft.com/office/drawing/2014/main" id="{650E4651-2B7C-2C1C-38AD-CE34470CA1F6}"/>
                </a:ext>
              </a:extLst>
            </p:cNvPr>
            <p:cNvSpPr>
              <a:spLocks noChangeArrowheads="1"/>
            </p:cNvSpPr>
            <p:nvPr/>
          </p:nvSpPr>
          <p:spPr bwMode="auto">
            <a:xfrm>
              <a:off x="10725150" y="5654675"/>
              <a:ext cx="352425" cy="352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371">
              <a:extLst>
                <a:ext uri="{FF2B5EF4-FFF2-40B4-BE49-F238E27FC236}">
                  <a16:creationId xmlns:a16="http://schemas.microsoft.com/office/drawing/2014/main" id="{FC82B465-B852-E9B5-CB43-432B22B104EF}"/>
                </a:ext>
              </a:extLst>
            </p:cNvPr>
            <p:cNvSpPr>
              <a:spLocks noEditPoints="1"/>
            </p:cNvSpPr>
            <p:nvPr/>
          </p:nvSpPr>
          <p:spPr bwMode="auto">
            <a:xfrm>
              <a:off x="10702925" y="5632450"/>
              <a:ext cx="396875" cy="396875"/>
            </a:xfrm>
            <a:custGeom>
              <a:avLst/>
              <a:gdLst>
                <a:gd name="T0" fmla="*/ 53 w 105"/>
                <a:gd name="T1" fmla="*/ 0 h 105"/>
                <a:gd name="T2" fmla="*/ 0 w 105"/>
                <a:gd name="T3" fmla="*/ 52 h 105"/>
                <a:gd name="T4" fmla="*/ 53 w 105"/>
                <a:gd name="T5" fmla="*/ 105 h 105"/>
                <a:gd name="T6" fmla="*/ 105 w 105"/>
                <a:gd name="T7" fmla="*/ 52 h 105"/>
                <a:gd name="T8" fmla="*/ 53 w 105"/>
                <a:gd name="T9" fmla="*/ 0 h 105"/>
                <a:gd name="T10" fmla="*/ 53 w 105"/>
                <a:gd name="T11" fmla="*/ 6 h 105"/>
                <a:gd name="T12" fmla="*/ 99 w 105"/>
                <a:gd name="T13" fmla="*/ 52 h 105"/>
                <a:gd name="T14" fmla="*/ 53 w 105"/>
                <a:gd name="T15" fmla="*/ 99 h 105"/>
                <a:gd name="T16" fmla="*/ 6 w 105"/>
                <a:gd name="T17" fmla="*/ 52 h 105"/>
                <a:gd name="T18" fmla="*/ 53 w 105"/>
                <a:gd name="T19"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0"/>
                  </a:moveTo>
                  <a:cubicBezTo>
                    <a:pt x="24" y="0"/>
                    <a:pt x="0" y="23"/>
                    <a:pt x="0" y="52"/>
                  </a:cubicBezTo>
                  <a:cubicBezTo>
                    <a:pt x="0" y="82"/>
                    <a:pt x="24" y="105"/>
                    <a:pt x="53" y="105"/>
                  </a:cubicBezTo>
                  <a:cubicBezTo>
                    <a:pt x="82" y="105"/>
                    <a:pt x="105" y="82"/>
                    <a:pt x="105" y="52"/>
                  </a:cubicBezTo>
                  <a:cubicBezTo>
                    <a:pt x="105" y="23"/>
                    <a:pt x="82" y="0"/>
                    <a:pt x="53" y="0"/>
                  </a:cubicBezTo>
                  <a:close/>
                  <a:moveTo>
                    <a:pt x="53" y="6"/>
                  </a:moveTo>
                  <a:cubicBezTo>
                    <a:pt x="78" y="6"/>
                    <a:pt x="99" y="27"/>
                    <a:pt x="99" y="52"/>
                  </a:cubicBezTo>
                  <a:cubicBezTo>
                    <a:pt x="99" y="78"/>
                    <a:pt x="78" y="99"/>
                    <a:pt x="53" y="99"/>
                  </a:cubicBezTo>
                  <a:cubicBezTo>
                    <a:pt x="27" y="99"/>
                    <a:pt x="6" y="78"/>
                    <a:pt x="6" y="52"/>
                  </a:cubicBezTo>
                  <a:cubicBezTo>
                    <a:pt x="6" y="27"/>
                    <a:pt x="27" y="6"/>
                    <a:pt x="53" y="6"/>
                  </a:cubicBezTo>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Oval 372">
              <a:extLst>
                <a:ext uri="{FF2B5EF4-FFF2-40B4-BE49-F238E27FC236}">
                  <a16:creationId xmlns:a16="http://schemas.microsoft.com/office/drawing/2014/main" id="{76F5EBC8-1EEC-E0C3-654C-F5044E6DACDD}"/>
                </a:ext>
              </a:extLst>
            </p:cNvPr>
            <p:cNvSpPr>
              <a:spLocks noChangeArrowheads="1"/>
            </p:cNvSpPr>
            <p:nvPr/>
          </p:nvSpPr>
          <p:spPr bwMode="auto">
            <a:xfrm>
              <a:off x="10763250" y="5689600"/>
              <a:ext cx="279400" cy="279400"/>
            </a:xfrm>
            <a:prstGeom prst="ellipse">
              <a:avLst/>
            </a:pr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373">
              <a:extLst>
                <a:ext uri="{FF2B5EF4-FFF2-40B4-BE49-F238E27FC236}">
                  <a16:creationId xmlns:a16="http://schemas.microsoft.com/office/drawing/2014/main" id="{70E4DAA4-924E-1A19-8CA5-1C033FE71F64}"/>
                </a:ext>
              </a:extLst>
            </p:cNvPr>
            <p:cNvSpPr>
              <a:spLocks/>
            </p:cNvSpPr>
            <p:nvPr/>
          </p:nvSpPr>
          <p:spPr bwMode="auto">
            <a:xfrm>
              <a:off x="10763250" y="5689600"/>
              <a:ext cx="238125" cy="238125"/>
            </a:xfrm>
            <a:custGeom>
              <a:avLst/>
              <a:gdLst>
                <a:gd name="T0" fmla="*/ 37 w 63"/>
                <a:gd name="T1" fmla="*/ 0 h 63"/>
                <a:gd name="T2" fmla="*/ 0 w 63"/>
                <a:gd name="T3" fmla="*/ 37 h 63"/>
                <a:gd name="T4" fmla="*/ 10 w 63"/>
                <a:gd name="T5" fmla="*/ 63 h 63"/>
                <a:gd name="T6" fmla="*/ 63 w 63"/>
                <a:gd name="T7" fmla="*/ 11 h 63"/>
                <a:gd name="T8" fmla="*/ 37 w 63"/>
                <a:gd name="T9" fmla="*/ 0 h 63"/>
              </a:gdLst>
              <a:ahLst/>
              <a:cxnLst>
                <a:cxn ang="0">
                  <a:pos x="T0" y="T1"/>
                </a:cxn>
                <a:cxn ang="0">
                  <a:pos x="T2" y="T3"/>
                </a:cxn>
                <a:cxn ang="0">
                  <a:pos x="T4" y="T5"/>
                </a:cxn>
                <a:cxn ang="0">
                  <a:pos x="T6" y="T7"/>
                </a:cxn>
                <a:cxn ang="0">
                  <a:pos x="T8" y="T9"/>
                </a:cxn>
              </a:cxnLst>
              <a:rect l="0" t="0" r="r" b="b"/>
              <a:pathLst>
                <a:path w="63" h="63">
                  <a:moveTo>
                    <a:pt x="37" y="0"/>
                  </a:moveTo>
                  <a:cubicBezTo>
                    <a:pt x="16" y="0"/>
                    <a:pt x="0" y="17"/>
                    <a:pt x="0" y="37"/>
                  </a:cubicBezTo>
                  <a:cubicBezTo>
                    <a:pt x="0" y="48"/>
                    <a:pt x="4" y="57"/>
                    <a:pt x="10" y="63"/>
                  </a:cubicBezTo>
                  <a:cubicBezTo>
                    <a:pt x="63" y="11"/>
                    <a:pt x="63" y="11"/>
                    <a:pt x="63" y="11"/>
                  </a:cubicBezTo>
                  <a:cubicBezTo>
                    <a:pt x="56" y="5"/>
                    <a:pt x="47" y="0"/>
                    <a:pt x="37" y="0"/>
                  </a:cubicBezTo>
                  <a:close/>
                </a:path>
              </a:pathLst>
            </a:custGeom>
            <a:solidFill>
              <a:srgbClr val="9CE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374">
              <a:extLst>
                <a:ext uri="{FF2B5EF4-FFF2-40B4-BE49-F238E27FC236}">
                  <a16:creationId xmlns:a16="http://schemas.microsoft.com/office/drawing/2014/main" id="{3E061A80-E678-76BC-D622-24078DE468E2}"/>
                </a:ext>
              </a:extLst>
            </p:cNvPr>
            <p:cNvSpPr>
              <a:spLocks/>
            </p:cNvSpPr>
            <p:nvPr/>
          </p:nvSpPr>
          <p:spPr bwMode="auto">
            <a:xfrm>
              <a:off x="10487025" y="5419725"/>
              <a:ext cx="771525" cy="147638"/>
            </a:xfrm>
            <a:custGeom>
              <a:avLst/>
              <a:gdLst>
                <a:gd name="T0" fmla="*/ 179 w 204"/>
                <a:gd name="T1" fmla="*/ 0 h 39"/>
                <a:gd name="T2" fmla="*/ 25 w 204"/>
                <a:gd name="T3" fmla="*/ 0 h 39"/>
                <a:gd name="T4" fmla="*/ 0 w 204"/>
                <a:gd name="T5" fmla="*/ 26 h 39"/>
                <a:gd name="T6" fmla="*/ 0 w 204"/>
                <a:gd name="T7" fmla="*/ 39 h 39"/>
                <a:gd name="T8" fmla="*/ 204 w 204"/>
                <a:gd name="T9" fmla="*/ 39 h 39"/>
                <a:gd name="T10" fmla="*/ 204 w 204"/>
                <a:gd name="T11" fmla="*/ 26 h 39"/>
                <a:gd name="T12" fmla="*/ 179 w 20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179" y="0"/>
                  </a:moveTo>
                  <a:cubicBezTo>
                    <a:pt x="25" y="0"/>
                    <a:pt x="25" y="0"/>
                    <a:pt x="25" y="0"/>
                  </a:cubicBezTo>
                  <a:cubicBezTo>
                    <a:pt x="11" y="0"/>
                    <a:pt x="0" y="12"/>
                    <a:pt x="0" y="26"/>
                  </a:cubicBezTo>
                  <a:cubicBezTo>
                    <a:pt x="0" y="39"/>
                    <a:pt x="0" y="39"/>
                    <a:pt x="0" y="39"/>
                  </a:cubicBezTo>
                  <a:cubicBezTo>
                    <a:pt x="204" y="39"/>
                    <a:pt x="204" y="39"/>
                    <a:pt x="204" y="39"/>
                  </a:cubicBezTo>
                  <a:cubicBezTo>
                    <a:pt x="204" y="26"/>
                    <a:pt x="204" y="26"/>
                    <a:pt x="204" y="26"/>
                  </a:cubicBezTo>
                  <a:cubicBezTo>
                    <a:pt x="204" y="12"/>
                    <a:pt x="193" y="0"/>
                    <a:pt x="179"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Oval 375">
              <a:extLst>
                <a:ext uri="{FF2B5EF4-FFF2-40B4-BE49-F238E27FC236}">
                  <a16:creationId xmlns:a16="http://schemas.microsoft.com/office/drawing/2014/main" id="{C9B4C426-248F-DEB9-FEB7-11ECBEE2D09F}"/>
                </a:ext>
              </a:extLst>
            </p:cNvPr>
            <p:cNvSpPr>
              <a:spLocks noChangeArrowheads="1"/>
            </p:cNvSpPr>
            <p:nvPr/>
          </p:nvSpPr>
          <p:spPr bwMode="auto">
            <a:xfrm>
              <a:off x="10571163" y="5468938"/>
              <a:ext cx="49213" cy="49213"/>
            </a:xfrm>
            <a:prstGeom prst="ellipse">
              <a:avLst/>
            </a:pr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Oval 376">
              <a:extLst>
                <a:ext uri="{FF2B5EF4-FFF2-40B4-BE49-F238E27FC236}">
                  <a16:creationId xmlns:a16="http://schemas.microsoft.com/office/drawing/2014/main" id="{A39A0779-0EE4-BFB6-D3E4-C6AFD54B6E6F}"/>
                </a:ext>
              </a:extLst>
            </p:cNvPr>
            <p:cNvSpPr>
              <a:spLocks noChangeArrowheads="1"/>
            </p:cNvSpPr>
            <p:nvPr/>
          </p:nvSpPr>
          <p:spPr bwMode="auto">
            <a:xfrm>
              <a:off x="10669588" y="5468938"/>
              <a:ext cx="44450" cy="49213"/>
            </a:xfrm>
            <a:prstGeom prst="ellipse">
              <a:avLst/>
            </a:pr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Oval 377">
              <a:extLst>
                <a:ext uri="{FF2B5EF4-FFF2-40B4-BE49-F238E27FC236}">
                  <a16:creationId xmlns:a16="http://schemas.microsoft.com/office/drawing/2014/main" id="{DF77491A-9FC6-96AD-3064-8983C899FAD0}"/>
                </a:ext>
              </a:extLst>
            </p:cNvPr>
            <p:cNvSpPr>
              <a:spLocks noChangeArrowheads="1"/>
            </p:cNvSpPr>
            <p:nvPr/>
          </p:nvSpPr>
          <p:spPr bwMode="auto">
            <a:xfrm>
              <a:off x="10763250" y="5468938"/>
              <a:ext cx="49213" cy="49213"/>
            </a:xfrm>
            <a:prstGeom prst="ellipse">
              <a:avLst/>
            </a:pr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6" name="Group 55">
            <a:extLst>
              <a:ext uri="{FF2B5EF4-FFF2-40B4-BE49-F238E27FC236}">
                <a16:creationId xmlns:a16="http://schemas.microsoft.com/office/drawing/2014/main" id="{20BEF5ED-811B-D76A-EF05-9CD16391E241}"/>
              </a:ext>
            </a:extLst>
          </p:cNvPr>
          <p:cNvGrpSpPr/>
          <p:nvPr/>
        </p:nvGrpSpPr>
        <p:grpSpPr>
          <a:xfrm>
            <a:off x="7392128" y="1324032"/>
            <a:ext cx="336080" cy="292993"/>
            <a:chOff x="1216026" y="5511800"/>
            <a:chExt cx="681038" cy="593725"/>
          </a:xfrm>
          <a:effectLst>
            <a:outerShdw dist="38100" dir="2700000" algn="tl" rotWithShape="0">
              <a:prstClr val="black">
                <a:alpha val="20000"/>
              </a:prstClr>
            </a:outerShdw>
          </a:effectLst>
        </p:grpSpPr>
        <p:sp>
          <p:nvSpPr>
            <p:cNvPr id="58" name="Freeform 437">
              <a:extLst>
                <a:ext uri="{FF2B5EF4-FFF2-40B4-BE49-F238E27FC236}">
                  <a16:creationId xmlns:a16="http://schemas.microsoft.com/office/drawing/2014/main" id="{67502D91-9C8B-B152-A2FD-D52A0DEEB258}"/>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438">
              <a:extLst>
                <a:ext uri="{FF2B5EF4-FFF2-40B4-BE49-F238E27FC236}">
                  <a16:creationId xmlns:a16="http://schemas.microsoft.com/office/drawing/2014/main" id="{999D5005-155E-36AB-1678-C49346DCEA0C}"/>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439">
              <a:extLst>
                <a:ext uri="{FF2B5EF4-FFF2-40B4-BE49-F238E27FC236}">
                  <a16:creationId xmlns:a16="http://schemas.microsoft.com/office/drawing/2014/main" id="{67639B7C-E7C3-064A-0B9C-3E0AB4ED1B6C}"/>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440">
              <a:extLst>
                <a:ext uri="{FF2B5EF4-FFF2-40B4-BE49-F238E27FC236}">
                  <a16:creationId xmlns:a16="http://schemas.microsoft.com/office/drawing/2014/main" id="{52B97CD8-1F9F-0DD6-95F9-B3E5FAA270F6}"/>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Oval 441">
              <a:extLst>
                <a:ext uri="{FF2B5EF4-FFF2-40B4-BE49-F238E27FC236}">
                  <a16:creationId xmlns:a16="http://schemas.microsoft.com/office/drawing/2014/main" id="{C807BEDC-3576-7965-29EA-291469C68E72}"/>
                </a:ext>
              </a:extLst>
            </p:cNvPr>
            <p:cNvSpPr>
              <a:spLocks noChangeArrowheads="1"/>
            </p:cNvSpPr>
            <p:nvPr/>
          </p:nvSpPr>
          <p:spPr bwMode="auto">
            <a:xfrm>
              <a:off x="1457326" y="5654675"/>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442">
              <a:extLst>
                <a:ext uri="{FF2B5EF4-FFF2-40B4-BE49-F238E27FC236}">
                  <a16:creationId xmlns:a16="http://schemas.microsoft.com/office/drawing/2014/main" id="{57535443-858B-8696-AC7E-A24B683E4372}"/>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Oval 443">
              <a:extLst>
                <a:ext uri="{FF2B5EF4-FFF2-40B4-BE49-F238E27FC236}">
                  <a16:creationId xmlns:a16="http://schemas.microsoft.com/office/drawing/2014/main" id="{3B2EBF6D-F3E0-D2F9-BA27-6C3D8BB01A82}"/>
                </a:ext>
              </a:extLst>
            </p:cNvPr>
            <p:cNvSpPr>
              <a:spLocks noChangeArrowheads="1"/>
            </p:cNvSpPr>
            <p:nvPr/>
          </p:nvSpPr>
          <p:spPr bwMode="auto">
            <a:xfrm>
              <a:off x="1314451" y="5583238"/>
              <a:ext cx="142875"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444">
              <a:extLst>
                <a:ext uri="{FF2B5EF4-FFF2-40B4-BE49-F238E27FC236}">
                  <a16:creationId xmlns:a16="http://schemas.microsoft.com/office/drawing/2014/main" id="{039FB4D7-464D-5C33-8523-0AF7B47E4A8F}"/>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Oval 445">
              <a:extLst>
                <a:ext uri="{FF2B5EF4-FFF2-40B4-BE49-F238E27FC236}">
                  <a16:creationId xmlns:a16="http://schemas.microsoft.com/office/drawing/2014/main" id="{8AD1C9DE-6EF7-926D-D346-E9FB550F21B6}"/>
                </a:ext>
              </a:extLst>
            </p:cNvPr>
            <p:cNvSpPr>
              <a:spLocks noChangeArrowheads="1"/>
            </p:cNvSpPr>
            <p:nvPr/>
          </p:nvSpPr>
          <p:spPr bwMode="auto">
            <a:xfrm>
              <a:off x="1506538" y="5511800"/>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446">
              <a:extLst>
                <a:ext uri="{FF2B5EF4-FFF2-40B4-BE49-F238E27FC236}">
                  <a16:creationId xmlns:a16="http://schemas.microsoft.com/office/drawing/2014/main" id="{EC7B0D26-71D6-35A4-D917-184E78FC8A48}"/>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Oval 447">
              <a:extLst>
                <a:ext uri="{FF2B5EF4-FFF2-40B4-BE49-F238E27FC236}">
                  <a16:creationId xmlns:a16="http://schemas.microsoft.com/office/drawing/2014/main" id="{95490B51-A9E9-BBB0-CE39-B13D478F3BD2}"/>
                </a:ext>
              </a:extLst>
            </p:cNvPr>
            <p:cNvSpPr>
              <a:spLocks noChangeArrowheads="1"/>
            </p:cNvSpPr>
            <p:nvPr/>
          </p:nvSpPr>
          <p:spPr bwMode="auto">
            <a:xfrm>
              <a:off x="1654176" y="5583238"/>
              <a:ext cx="144463"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9" name="Group 68">
            <a:extLst>
              <a:ext uri="{FF2B5EF4-FFF2-40B4-BE49-F238E27FC236}">
                <a16:creationId xmlns:a16="http://schemas.microsoft.com/office/drawing/2014/main" id="{D82458C9-6286-0604-5211-533B397F455F}"/>
              </a:ext>
            </a:extLst>
          </p:cNvPr>
          <p:cNvGrpSpPr/>
          <p:nvPr/>
        </p:nvGrpSpPr>
        <p:grpSpPr>
          <a:xfrm>
            <a:off x="7402840" y="5193619"/>
            <a:ext cx="314657" cy="296529"/>
            <a:chOff x="1169988" y="5418138"/>
            <a:chExt cx="771526" cy="727076"/>
          </a:xfrm>
          <a:effectLst>
            <a:outerShdw dist="38100" dir="2700000" algn="tl" rotWithShape="0">
              <a:prstClr val="black">
                <a:alpha val="20000"/>
              </a:prstClr>
            </a:outerShdw>
          </a:effectLst>
        </p:grpSpPr>
        <p:sp>
          <p:nvSpPr>
            <p:cNvPr id="71" name="Freeform 456">
              <a:extLst>
                <a:ext uri="{FF2B5EF4-FFF2-40B4-BE49-F238E27FC236}">
                  <a16:creationId xmlns:a16="http://schemas.microsoft.com/office/drawing/2014/main" id="{AA843ECA-5712-4B97-1452-82971295AEC9}"/>
                </a:ext>
              </a:extLst>
            </p:cNvPr>
            <p:cNvSpPr>
              <a:spLocks/>
            </p:cNvSpPr>
            <p:nvPr/>
          </p:nvSpPr>
          <p:spPr bwMode="auto">
            <a:xfrm>
              <a:off x="1169988" y="6099176"/>
              <a:ext cx="771525" cy="46038"/>
            </a:xfrm>
            <a:custGeom>
              <a:avLst/>
              <a:gdLst>
                <a:gd name="T0" fmla="*/ 204 w 204"/>
                <a:gd name="T1" fmla="*/ 12 h 12"/>
                <a:gd name="T2" fmla="*/ 0 w 204"/>
                <a:gd name="T3" fmla="*/ 12 h 12"/>
                <a:gd name="T4" fmla="*/ 0 w 204"/>
                <a:gd name="T5" fmla="*/ 12 h 12"/>
                <a:gd name="T6" fmla="*/ 12 w 204"/>
                <a:gd name="T7" fmla="*/ 0 h 12"/>
                <a:gd name="T8" fmla="*/ 192 w 204"/>
                <a:gd name="T9" fmla="*/ 0 h 12"/>
                <a:gd name="T10" fmla="*/ 204 w 204"/>
                <a:gd name="T11" fmla="*/ 12 h 12"/>
              </a:gdLst>
              <a:ahLst/>
              <a:cxnLst>
                <a:cxn ang="0">
                  <a:pos x="T0" y="T1"/>
                </a:cxn>
                <a:cxn ang="0">
                  <a:pos x="T2" y="T3"/>
                </a:cxn>
                <a:cxn ang="0">
                  <a:pos x="T4" y="T5"/>
                </a:cxn>
                <a:cxn ang="0">
                  <a:pos x="T6" y="T7"/>
                </a:cxn>
                <a:cxn ang="0">
                  <a:pos x="T8" y="T9"/>
                </a:cxn>
                <a:cxn ang="0">
                  <a:pos x="T10" y="T11"/>
                </a:cxn>
              </a:cxnLst>
              <a:rect l="0" t="0" r="r" b="b"/>
              <a:pathLst>
                <a:path w="204" h="12">
                  <a:moveTo>
                    <a:pt x="204" y="12"/>
                  </a:moveTo>
                  <a:cubicBezTo>
                    <a:pt x="0" y="12"/>
                    <a:pt x="0" y="12"/>
                    <a:pt x="0" y="12"/>
                  </a:cubicBezTo>
                  <a:cubicBezTo>
                    <a:pt x="0" y="12"/>
                    <a:pt x="0" y="12"/>
                    <a:pt x="0" y="12"/>
                  </a:cubicBezTo>
                  <a:cubicBezTo>
                    <a:pt x="0" y="5"/>
                    <a:pt x="5" y="0"/>
                    <a:pt x="12" y="0"/>
                  </a:cubicBezTo>
                  <a:cubicBezTo>
                    <a:pt x="192" y="0"/>
                    <a:pt x="192" y="0"/>
                    <a:pt x="192" y="0"/>
                  </a:cubicBezTo>
                  <a:cubicBezTo>
                    <a:pt x="199" y="0"/>
                    <a:pt x="204" y="5"/>
                    <a:pt x="204" y="12"/>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Rectangle 457">
              <a:extLst>
                <a:ext uri="{FF2B5EF4-FFF2-40B4-BE49-F238E27FC236}">
                  <a16:creationId xmlns:a16="http://schemas.microsoft.com/office/drawing/2014/main" id="{07ECD688-0727-1669-9C61-F571A8423A66}"/>
                </a:ext>
              </a:extLst>
            </p:cNvPr>
            <p:cNvSpPr>
              <a:spLocks noChangeArrowheads="1"/>
            </p:cNvSpPr>
            <p:nvPr/>
          </p:nvSpPr>
          <p:spPr bwMode="auto">
            <a:xfrm>
              <a:off x="1216026" y="5661026"/>
              <a:ext cx="681038" cy="438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458">
              <a:extLst>
                <a:ext uri="{FF2B5EF4-FFF2-40B4-BE49-F238E27FC236}">
                  <a16:creationId xmlns:a16="http://schemas.microsoft.com/office/drawing/2014/main" id="{3C24EDA7-2E74-8653-4DD0-A6BDED8F42EE}"/>
                </a:ext>
              </a:extLst>
            </p:cNvPr>
            <p:cNvSpPr>
              <a:spLocks/>
            </p:cNvSpPr>
            <p:nvPr/>
          </p:nvSpPr>
          <p:spPr bwMode="auto">
            <a:xfrm>
              <a:off x="1169988"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2" y="13"/>
                    <a:pt x="14" y="13"/>
                  </a:cubicBezTo>
                  <a:cubicBezTo>
                    <a:pt x="6"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459">
              <a:extLst>
                <a:ext uri="{FF2B5EF4-FFF2-40B4-BE49-F238E27FC236}">
                  <a16:creationId xmlns:a16="http://schemas.microsoft.com/office/drawing/2014/main" id="{A64707CE-5B43-604D-8CE9-BAAD3368B0A5}"/>
                </a:ext>
              </a:extLst>
            </p:cNvPr>
            <p:cNvSpPr>
              <a:spLocks/>
            </p:cNvSpPr>
            <p:nvPr/>
          </p:nvSpPr>
          <p:spPr bwMode="auto">
            <a:xfrm>
              <a:off x="1279526"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4" y="13"/>
                  </a:cubicBezTo>
                  <a:cubicBezTo>
                    <a:pt x="6" y="13"/>
                    <a:pt x="0" y="7"/>
                    <a:pt x="0" y="0"/>
                  </a:cubicBezTo>
                  <a:lnTo>
                    <a:pt x="29"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460">
              <a:extLst>
                <a:ext uri="{FF2B5EF4-FFF2-40B4-BE49-F238E27FC236}">
                  <a16:creationId xmlns:a16="http://schemas.microsoft.com/office/drawing/2014/main" id="{632EC1B7-6BE1-24F9-6284-DF206ECD7E12}"/>
                </a:ext>
              </a:extLst>
            </p:cNvPr>
            <p:cNvSpPr>
              <a:spLocks/>
            </p:cNvSpPr>
            <p:nvPr/>
          </p:nvSpPr>
          <p:spPr bwMode="auto">
            <a:xfrm>
              <a:off x="1389063"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7"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461">
              <a:extLst>
                <a:ext uri="{FF2B5EF4-FFF2-40B4-BE49-F238E27FC236}">
                  <a16:creationId xmlns:a16="http://schemas.microsoft.com/office/drawing/2014/main" id="{9E76C683-5821-9488-3CCE-556CADB0A98D}"/>
                </a:ext>
              </a:extLst>
            </p:cNvPr>
            <p:cNvSpPr>
              <a:spLocks/>
            </p:cNvSpPr>
            <p:nvPr/>
          </p:nvSpPr>
          <p:spPr bwMode="auto">
            <a:xfrm>
              <a:off x="1498601" y="5661026"/>
              <a:ext cx="114300" cy="49213"/>
            </a:xfrm>
            <a:custGeom>
              <a:avLst/>
              <a:gdLst>
                <a:gd name="T0" fmla="*/ 30 w 30"/>
                <a:gd name="T1" fmla="*/ 0 h 13"/>
                <a:gd name="T2" fmla="*/ 15 w 30"/>
                <a:gd name="T3" fmla="*/ 13 h 13"/>
                <a:gd name="T4" fmla="*/ 0 w 30"/>
                <a:gd name="T5" fmla="*/ 0 h 13"/>
                <a:gd name="T6" fmla="*/ 30 w 30"/>
                <a:gd name="T7" fmla="*/ 0 h 13"/>
              </a:gdLst>
              <a:ahLst/>
              <a:cxnLst>
                <a:cxn ang="0">
                  <a:pos x="T0" y="T1"/>
                </a:cxn>
                <a:cxn ang="0">
                  <a:pos x="T2" y="T3"/>
                </a:cxn>
                <a:cxn ang="0">
                  <a:pos x="T4" y="T5"/>
                </a:cxn>
                <a:cxn ang="0">
                  <a:pos x="T6" y="T7"/>
                </a:cxn>
              </a:cxnLst>
              <a:rect l="0" t="0" r="r" b="b"/>
              <a:pathLst>
                <a:path w="30" h="13">
                  <a:moveTo>
                    <a:pt x="30" y="0"/>
                  </a:moveTo>
                  <a:cubicBezTo>
                    <a:pt x="30" y="7"/>
                    <a:pt x="23" y="13"/>
                    <a:pt x="15" y="13"/>
                  </a:cubicBezTo>
                  <a:cubicBezTo>
                    <a:pt x="7" y="13"/>
                    <a:pt x="0" y="7"/>
                    <a:pt x="0" y="0"/>
                  </a:cubicBezTo>
                  <a:lnTo>
                    <a:pt x="30"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462">
              <a:extLst>
                <a:ext uri="{FF2B5EF4-FFF2-40B4-BE49-F238E27FC236}">
                  <a16:creationId xmlns:a16="http://schemas.microsoft.com/office/drawing/2014/main" id="{5B8CD854-1A9C-517E-6F44-AB485D2CB602}"/>
                </a:ext>
              </a:extLst>
            </p:cNvPr>
            <p:cNvSpPr>
              <a:spLocks/>
            </p:cNvSpPr>
            <p:nvPr/>
          </p:nvSpPr>
          <p:spPr bwMode="auto">
            <a:xfrm>
              <a:off x="1722438"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6" y="13"/>
                    <a:pt x="0" y="7"/>
                    <a:pt x="0" y="0"/>
                  </a:cubicBezTo>
                  <a:lnTo>
                    <a:pt x="29"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463">
              <a:extLst>
                <a:ext uri="{FF2B5EF4-FFF2-40B4-BE49-F238E27FC236}">
                  <a16:creationId xmlns:a16="http://schemas.microsoft.com/office/drawing/2014/main" id="{578D2037-1700-57E0-6760-F08363A9AE0F}"/>
                </a:ext>
              </a:extLst>
            </p:cNvPr>
            <p:cNvSpPr>
              <a:spLocks/>
            </p:cNvSpPr>
            <p:nvPr/>
          </p:nvSpPr>
          <p:spPr bwMode="auto">
            <a:xfrm>
              <a:off x="1612901"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2" y="13"/>
                    <a:pt x="14" y="13"/>
                  </a:cubicBezTo>
                  <a:cubicBezTo>
                    <a:pt x="6"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464">
              <a:extLst>
                <a:ext uri="{FF2B5EF4-FFF2-40B4-BE49-F238E27FC236}">
                  <a16:creationId xmlns:a16="http://schemas.microsoft.com/office/drawing/2014/main" id="{B65108CD-85B3-7D75-DFF6-542D033727B2}"/>
                </a:ext>
              </a:extLst>
            </p:cNvPr>
            <p:cNvSpPr>
              <a:spLocks/>
            </p:cNvSpPr>
            <p:nvPr/>
          </p:nvSpPr>
          <p:spPr bwMode="auto">
            <a:xfrm>
              <a:off x="1831976"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7"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465">
              <a:extLst>
                <a:ext uri="{FF2B5EF4-FFF2-40B4-BE49-F238E27FC236}">
                  <a16:creationId xmlns:a16="http://schemas.microsoft.com/office/drawing/2014/main" id="{255BFBD2-8512-1C2E-41BB-BCE72723BE49}"/>
                </a:ext>
              </a:extLst>
            </p:cNvPr>
            <p:cNvSpPr>
              <a:spLocks/>
            </p:cNvSpPr>
            <p:nvPr/>
          </p:nvSpPr>
          <p:spPr bwMode="auto">
            <a:xfrm>
              <a:off x="1169988" y="5418138"/>
              <a:ext cx="204788" cy="242888"/>
            </a:xfrm>
            <a:custGeom>
              <a:avLst/>
              <a:gdLst>
                <a:gd name="T0" fmla="*/ 0 w 129"/>
                <a:gd name="T1" fmla="*/ 153 h 153"/>
                <a:gd name="T2" fmla="*/ 69 w 129"/>
                <a:gd name="T3" fmla="*/ 153 h 153"/>
                <a:gd name="T4" fmla="*/ 129 w 129"/>
                <a:gd name="T5" fmla="*/ 0 h 153"/>
                <a:gd name="T6" fmla="*/ 69 w 129"/>
                <a:gd name="T7" fmla="*/ 0 h 153"/>
                <a:gd name="T8" fmla="*/ 0 w 129"/>
                <a:gd name="T9" fmla="*/ 153 h 153"/>
              </a:gdLst>
              <a:ahLst/>
              <a:cxnLst>
                <a:cxn ang="0">
                  <a:pos x="T0" y="T1"/>
                </a:cxn>
                <a:cxn ang="0">
                  <a:pos x="T2" y="T3"/>
                </a:cxn>
                <a:cxn ang="0">
                  <a:pos x="T4" y="T5"/>
                </a:cxn>
                <a:cxn ang="0">
                  <a:pos x="T6" y="T7"/>
                </a:cxn>
                <a:cxn ang="0">
                  <a:pos x="T8" y="T9"/>
                </a:cxn>
              </a:cxnLst>
              <a:rect l="0" t="0" r="r" b="b"/>
              <a:pathLst>
                <a:path w="129" h="153">
                  <a:moveTo>
                    <a:pt x="0" y="153"/>
                  </a:moveTo>
                  <a:lnTo>
                    <a:pt x="69" y="153"/>
                  </a:lnTo>
                  <a:lnTo>
                    <a:pt x="129" y="0"/>
                  </a:lnTo>
                  <a:lnTo>
                    <a:pt x="69" y="0"/>
                  </a:lnTo>
                  <a:lnTo>
                    <a:pt x="0"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466">
              <a:extLst>
                <a:ext uri="{FF2B5EF4-FFF2-40B4-BE49-F238E27FC236}">
                  <a16:creationId xmlns:a16="http://schemas.microsoft.com/office/drawing/2014/main" id="{79904648-9B69-A586-5BFE-DCD8B1F44221}"/>
                </a:ext>
              </a:extLst>
            </p:cNvPr>
            <p:cNvSpPr>
              <a:spLocks/>
            </p:cNvSpPr>
            <p:nvPr/>
          </p:nvSpPr>
          <p:spPr bwMode="auto">
            <a:xfrm>
              <a:off x="1279526" y="5418138"/>
              <a:ext cx="177800" cy="242888"/>
            </a:xfrm>
            <a:custGeom>
              <a:avLst/>
              <a:gdLst>
                <a:gd name="T0" fmla="*/ 0 w 112"/>
                <a:gd name="T1" fmla="*/ 153 h 153"/>
                <a:gd name="T2" fmla="*/ 69 w 112"/>
                <a:gd name="T3" fmla="*/ 153 h 153"/>
                <a:gd name="T4" fmla="*/ 112 w 112"/>
                <a:gd name="T5" fmla="*/ 0 h 153"/>
                <a:gd name="T6" fmla="*/ 60 w 112"/>
                <a:gd name="T7" fmla="*/ 0 h 153"/>
                <a:gd name="T8" fmla="*/ 0 w 112"/>
                <a:gd name="T9" fmla="*/ 153 h 153"/>
              </a:gdLst>
              <a:ahLst/>
              <a:cxnLst>
                <a:cxn ang="0">
                  <a:pos x="T0" y="T1"/>
                </a:cxn>
                <a:cxn ang="0">
                  <a:pos x="T2" y="T3"/>
                </a:cxn>
                <a:cxn ang="0">
                  <a:pos x="T4" y="T5"/>
                </a:cxn>
                <a:cxn ang="0">
                  <a:pos x="T6" y="T7"/>
                </a:cxn>
                <a:cxn ang="0">
                  <a:pos x="T8" y="T9"/>
                </a:cxn>
              </a:cxnLst>
              <a:rect l="0" t="0" r="r" b="b"/>
              <a:pathLst>
                <a:path w="112" h="153">
                  <a:moveTo>
                    <a:pt x="0" y="153"/>
                  </a:moveTo>
                  <a:lnTo>
                    <a:pt x="69" y="153"/>
                  </a:lnTo>
                  <a:lnTo>
                    <a:pt x="112" y="0"/>
                  </a:lnTo>
                  <a:lnTo>
                    <a:pt x="60" y="0"/>
                  </a:lnTo>
                  <a:lnTo>
                    <a:pt x="0"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467">
              <a:extLst>
                <a:ext uri="{FF2B5EF4-FFF2-40B4-BE49-F238E27FC236}">
                  <a16:creationId xmlns:a16="http://schemas.microsoft.com/office/drawing/2014/main" id="{0559C827-C39E-6988-F934-28D5F7FF31CC}"/>
                </a:ext>
              </a:extLst>
            </p:cNvPr>
            <p:cNvSpPr>
              <a:spLocks/>
            </p:cNvSpPr>
            <p:nvPr/>
          </p:nvSpPr>
          <p:spPr bwMode="auto">
            <a:xfrm>
              <a:off x="1389063" y="5418138"/>
              <a:ext cx="152400" cy="242888"/>
            </a:xfrm>
            <a:custGeom>
              <a:avLst/>
              <a:gdLst>
                <a:gd name="T0" fmla="*/ 0 w 96"/>
                <a:gd name="T1" fmla="*/ 153 h 153"/>
                <a:gd name="T2" fmla="*/ 69 w 96"/>
                <a:gd name="T3" fmla="*/ 153 h 153"/>
                <a:gd name="T4" fmla="*/ 96 w 96"/>
                <a:gd name="T5" fmla="*/ 0 h 153"/>
                <a:gd name="T6" fmla="*/ 43 w 96"/>
                <a:gd name="T7" fmla="*/ 0 h 153"/>
                <a:gd name="T8" fmla="*/ 0 w 96"/>
                <a:gd name="T9" fmla="*/ 153 h 153"/>
              </a:gdLst>
              <a:ahLst/>
              <a:cxnLst>
                <a:cxn ang="0">
                  <a:pos x="T0" y="T1"/>
                </a:cxn>
                <a:cxn ang="0">
                  <a:pos x="T2" y="T3"/>
                </a:cxn>
                <a:cxn ang="0">
                  <a:pos x="T4" y="T5"/>
                </a:cxn>
                <a:cxn ang="0">
                  <a:pos x="T6" y="T7"/>
                </a:cxn>
                <a:cxn ang="0">
                  <a:pos x="T8" y="T9"/>
                </a:cxn>
              </a:cxnLst>
              <a:rect l="0" t="0" r="r" b="b"/>
              <a:pathLst>
                <a:path w="96" h="153">
                  <a:moveTo>
                    <a:pt x="0" y="153"/>
                  </a:moveTo>
                  <a:lnTo>
                    <a:pt x="69" y="153"/>
                  </a:lnTo>
                  <a:lnTo>
                    <a:pt x="96" y="0"/>
                  </a:lnTo>
                  <a:lnTo>
                    <a:pt x="43" y="0"/>
                  </a:lnTo>
                  <a:lnTo>
                    <a:pt x="0"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68">
              <a:extLst>
                <a:ext uri="{FF2B5EF4-FFF2-40B4-BE49-F238E27FC236}">
                  <a16:creationId xmlns:a16="http://schemas.microsoft.com/office/drawing/2014/main" id="{2917F87C-3652-C416-2506-BA6AB86182F7}"/>
                </a:ext>
              </a:extLst>
            </p:cNvPr>
            <p:cNvSpPr>
              <a:spLocks/>
            </p:cNvSpPr>
            <p:nvPr/>
          </p:nvSpPr>
          <p:spPr bwMode="auto">
            <a:xfrm>
              <a:off x="1498601" y="5418138"/>
              <a:ext cx="114300" cy="242888"/>
            </a:xfrm>
            <a:custGeom>
              <a:avLst/>
              <a:gdLst>
                <a:gd name="T0" fmla="*/ 0 w 72"/>
                <a:gd name="T1" fmla="*/ 153 h 153"/>
                <a:gd name="T2" fmla="*/ 72 w 72"/>
                <a:gd name="T3" fmla="*/ 153 h 153"/>
                <a:gd name="T4" fmla="*/ 72 w 72"/>
                <a:gd name="T5" fmla="*/ 0 h 153"/>
                <a:gd name="T6" fmla="*/ 27 w 72"/>
                <a:gd name="T7" fmla="*/ 0 h 153"/>
                <a:gd name="T8" fmla="*/ 0 w 72"/>
                <a:gd name="T9" fmla="*/ 153 h 153"/>
              </a:gdLst>
              <a:ahLst/>
              <a:cxnLst>
                <a:cxn ang="0">
                  <a:pos x="T0" y="T1"/>
                </a:cxn>
                <a:cxn ang="0">
                  <a:pos x="T2" y="T3"/>
                </a:cxn>
                <a:cxn ang="0">
                  <a:pos x="T4" y="T5"/>
                </a:cxn>
                <a:cxn ang="0">
                  <a:pos x="T6" y="T7"/>
                </a:cxn>
                <a:cxn ang="0">
                  <a:pos x="T8" y="T9"/>
                </a:cxn>
              </a:cxnLst>
              <a:rect l="0" t="0" r="r" b="b"/>
              <a:pathLst>
                <a:path w="72" h="153">
                  <a:moveTo>
                    <a:pt x="0" y="153"/>
                  </a:moveTo>
                  <a:lnTo>
                    <a:pt x="72" y="153"/>
                  </a:lnTo>
                  <a:lnTo>
                    <a:pt x="72" y="0"/>
                  </a:lnTo>
                  <a:lnTo>
                    <a:pt x="27" y="0"/>
                  </a:lnTo>
                  <a:lnTo>
                    <a:pt x="0"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469">
              <a:extLst>
                <a:ext uri="{FF2B5EF4-FFF2-40B4-BE49-F238E27FC236}">
                  <a16:creationId xmlns:a16="http://schemas.microsoft.com/office/drawing/2014/main" id="{15CCD833-5667-D55A-35AC-B59FD7C634F4}"/>
                </a:ext>
              </a:extLst>
            </p:cNvPr>
            <p:cNvSpPr>
              <a:spLocks/>
            </p:cNvSpPr>
            <p:nvPr/>
          </p:nvSpPr>
          <p:spPr bwMode="auto">
            <a:xfrm>
              <a:off x="1763713" y="5418138"/>
              <a:ext cx="177800" cy="242888"/>
            </a:xfrm>
            <a:custGeom>
              <a:avLst/>
              <a:gdLst>
                <a:gd name="T0" fmla="*/ 112 w 112"/>
                <a:gd name="T1" fmla="*/ 153 h 153"/>
                <a:gd name="T2" fmla="*/ 43 w 112"/>
                <a:gd name="T3" fmla="*/ 153 h 153"/>
                <a:gd name="T4" fmla="*/ 0 w 112"/>
                <a:gd name="T5" fmla="*/ 0 h 153"/>
                <a:gd name="T6" fmla="*/ 53 w 112"/>
                <a:gd name="T7" fmla="*/ 0 h 153"/>
                <a:gd name="T8" fmla="*/ 112 w 112"/>
                <a:gd name="T9" fmla="*/ 153 h 153"/>
              </a:gdLst>
              <a:ahLst/>
              <a:cxnLst>
                <a:cxn ang="0">
                  <a:pos x="T0" y="T1"/>
                </a:cxn>
                <a:cxn ang="0">
                  <a:pos x="T2" y="T3"/>
                </a:cxn>
                <a:cxn ang="0">
                  <a:pos x="T4" y="T5"/>
                </a:cxn>
                <a:cxn ang="0">
                  <a:pos x="T6" y="T7"/>
                </a:cxn>
                <a:cxn ang="0">
                  <a:pos x="T8" y="T9"/>
                </a:cxn>
              </a:cxnLst>
              <a:rect l="0" t="0" r="r" b="b"/>
              <a:pathLst>
                <a:path w="112" h="153">
                  <a:moveTo>
                    <a:pt x="112" y="153"/>
                  </a:moveTo>
                  <a:lnTo>
                    <a:pt x="43" y="153"/>
                  </a:lnTo>
                  <a:lnTo>
                    <a:pt x="0" y="0"/>
                  </a:lnTo>
                  <a:lnTo>
                    <a:pt x="53" y="0"/>
                  </a:lnTo>
                  <a:lnTo>
                    <a:pt x="112"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70">
              <a:extLst>
                <a:ext uri="{FF2B5EF4-FFF2-40B4-BE49-F238E27FC236}">
                  <a16:creationId xmlns:a16="http://schemas.microsoft.com/office/drawing/2014/main" id="{500F6D05-9D0D-F0D8-74FE-74B88ECDA850}"/>
                </a:ext>
              </a:extLst>
            </p:cNvPr>
            <p:cNvSpPr>
              <a:spLocks/>
            </p:cNvSpPr>
            <p:nvPr/>
          </p:nvSpPr>
          <p:spPr bwMode="auto">
            <a:xfrm>
              <a:off x="1681163" y="5418138"/>
              <a:ext cx="150813" cy="242888"/>
            </a:xfrm>
            <a:custGeom>
              <a:avLst/>
              <a:gdLst>
                <a:gd name="T0" fmla="*/ 95 w 95"/>
                <a:gd name="T1" fmla="*/ 153 h 153"/>
                <a:gd name="T2" fmla="*/ 26 w 95"/>
                <a:gd name="T3" fmla="*/ 153 h 153"/>
                <a:gd name="T4" fmla="*/ 0 w 95"/>
                <a:gd name="T5" fmla="*/ 0 h 153"/>
                <a:gd name="T6" fmla="*/ 52 w 95"/>
                <a:gd name="T7" fmla="*/ 0 h 153"/>
                <a:gd name="T8" fmla="*/ 95 w 95"/>
                <a:gd name="T9" fmla="*/ 153 h 153"/>
              </a:gdLst>
              <a:ahLst/>
              <a:cxnLst>
                <a:cxn ang="0">
                  <a:pos x="T0" y="T1"/>
                </a:cxn>
                <a:cxn ang="0">
                  <a:pos x="T2" y="T3"/>
                </a:cxn>
                <a:cxn ang="0">
                  <a:pos x="T4" y="T5"/>
                </a:cxn>
                <a:cxn ang="0">
                  <a:pos x="T6" y="T7"/>
                </a:cxn>
                <a:cxn ang="0">
                  <a:pos x="T8" y="T9"/>
                </a:cxn>
              </a:cxnLst>
              <a:rect l="0" t="0" r="r" b="b"/>
              <a:pathLst>
                <a:path w="95" h="153">
                  <a:moveTo>
                    <a:pt x="95" y="153"/>
                  </a:moveTo>
                  <a:lnTo>
                    <a:pt x="26" y="153"/>
                  </a:lnTo>
                  <a:lnTo>
                    <a:pt x="0" y="0"/>
                  </a:lnTo>
                  <a:lnTo>
                    <a:pt x="52" y="0"/>
                  </a:lnTo>
                  <a:lnTo>
                    <a:pt x="95"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471">
              <a:extLst>
                <a:ext uri="{FF2B5EF4-FFF2-40B4-BE49-F238E27FC236}">
                  <a16:creationId xmlns:a16="http://schemas.microsoft.com/office/drawing/2014/main" id="{9E627F40-9049-A102-D8DD-41B6DA74FC37}"/>
                </a:ext>
              </a:extLst>
            </p:cNvPr>
            <p:cNvSpPr>
              <a:spLocks/>
            </p:cNvSpPr>
            <p:nvPr/>
          </p:nvSpPr>
          <p:spPr bwMode="auto">
            <a:xfrm>
              <a:off x="1612901" y="5418138"/>
              <a:ext cx="109538" cy="242888"/>
            </a:xfrm>
            <a:custGeom>
              <a:avLst/>
              <a:gdLst>
                <a:gd name="T0" fmla="*/ 69 w 69"/>
                <a:gd name="T1" fmla="*/ 153 h 153"/>
                <a:gd name="T2" fmla="*/ 0 w 69"/>
                <a:gd name="T3" fmla="*/ 153 h 153"/>
                <a:gd name="T4" fmla="*/ 0 w 69"/>
                <a:gd name="T5" fmla="*/ 0 h 153"/>
                <a:gd name="T6" fmla="*/ 43 w 69"/>
                <a:gd name="T7" fmla="*/ 0 h 153"/>
                <a:gd name="T8" fmla="*/ 69 w 69"/>
                <a:gd name="T9" fmla="*/ 153 h 153"/>
              </a:gdLst>
              <a:ahLst/>
              <a:cxnLst>
                <a:cxn ang="0">
                  <a:pos x="T0" y="T1"/>
                </a:cxn>
                <a:cxn ang="0">
                  <a:pos x="T2" y="T3"/>
                </a:cxn>
                <a:cxn ang="0">
                  <a:pos x="T4" y="T5"/>
                </a:cxn>
                <a:cxn ang="0">
                  <a:pos x="T6" y="T7"/>
                </a:cxn>
                <a:cxn ang="0">
                  <a:pos x="T8" y="T9"/>
                </a:cxn>
              </a:cxnLst>
              <a:rect l="0" t="0" r="r" b="b"/>
              <a:pathLst>
                <a:path w="69" h="153">
                  <a:moveTo>
                    <a:pt x="69" y="153"/>
                  </a:moveTo>
                  <a:lnTo>
                    <a:pt x="0" y="153"/>
                  </a:lnTo>
                  <a:lnTo>
                    <a:pt x="0" y="0"/>
                  </a:lnTo>
                  <a:lnTo>
                    <a:pt x="43" y="0"/>
                  </a:lnTo>
                  <a:lnTo>
                    <a:pt x="69"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Rectangle 472">
              <a:extLst>
                <a:ext uri="{FF2B5EF4-FFF2-40B4-BE49-F238E27FC236}">
                  <a16:creationId xmlns:a16="http://schemas.microsoft.com/office/drawing/2014/main" id="{6C8665B8-EAFF-11F8-0B9C-7CA1AC8ED7E0}"/>
                </a:ext>
              </a:extLst>
            </p:cNvPr>
            <p:cNvSpPr>
              <a:spLocks noChangeArrowheads="1"/>
            </p:cNvSpPr>
            <p:nvPr/>
          </p:nvSpPr>
          <p:spPr bwMode="auto">
            <a:xfrm>
              <a:off x="1265238" y="5759451"/>
              <a:ext cx="339725" cy="192088"/>
            </a:xfrm>
            <a:prstGeom prst="rect">
              <a:avLst/>
            </a:prstGeom>
            <a:solidFill>
              <a:srgbClr val="6FD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473">
              <a:extLst>
                <a:ext uri="{FF2B5EF4-FFF2-40B4-BE49-F238E27FC236}">
                  <a16:creationId xmlns:a16="http://schemas.microsoft.com/office/drawing/2014/main" id="{0156271D-E469-9080-EDD0-C8A721FE87BF}"/>
                </a:ext>
              </a:extLst>
            </p:cNvPr>
            <p:cNvSpPr>
              <a:spLocks/>
            </p:cNvSpPr>
            <p:nvPr/>
          </p:nvSpPr>
          <p:spPr bwMode="auto">
            <a:xfrm>
              <a:off x="1265238" y="5759451"/>
              <a:ext cx="339725" cy="192088"/>
            </a:xfrm>
            <a:custGeom>
              <a:avLst/>
              <a:gdLst>
                <a:gd name="T0" fmla="*/ 214 w 214"/>
                <a:gd name="T1" fmla="*/ 121 h 121"/>
                <a:gd name="T2" fmla="*/ 0 w 214"/>
                <a:gd name="T3" fmla="*/ 121 h 121"/>
                <a:gd name="T4" fmla="*/ 214 w 214"/>
                <a:gd name="T5" fmla="*/ 0 h 121"/>
                <a:gd name="T6" fmla="*/ 214 w 214"/>
                <a:gd name="T7" fmla="*/ 121 h 121"/>
              </a:gdLst>
              <a:ahLst/>
              <a:cxnLst>
                <a:cxn ang="0">
                  <a:pos x="T0" y="T1"/>
                </a:cxn>
                <a:cxn ang="0">
                  <a:pos x="T2" y="T3"/>
                </a:cxn>
                <a:cxn ang="0">
                  <a:pos x="T4" y="T5"/>
                </a:cxn>
                <a:cxn ang="0">
                  <a:pos x="T6" y="T7"/>
                </a:cxn>
              </a:cxnLst>
              <a:rect l="0" t="0" r="r" b="b"/>
              <a:pathLst>
                <a:path w="214" h="121">
                  <a:moveTo>
                    <a:pt x="214" y="121"/>
                  </a:moveTo>
                  <a:lnTo>
                    <a:pt x="0" y="121"/>
                  </a:lnTo>
                  <a:lnTo>
                    <a:pt x="214" y="0"/>
                  </a:lnTo>
                  <a:lnTo>
                    <a:pt x="214" y="121"/>
                  </a:ln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Rectangle 474">
              <a:extLst>
                <a:ext uri="{FF2B5EF4-FFF2-40B4-BE49-F238E27FC236}">
                  <a16:creationId xmlns:a16="http://schemas.microsoft.com/office/drawing/2014/main" id="{CBA5CB3F-B548-FA6F-872B-63E42188D2A9}"/>
                </a:ext>
              </a:extLst>
            </p:cNvPr>
            <p:cNvSpPr>
              <a:spLocks noChangeArrowheads="1"/>
            </p:cNvSpPr>
            <p:nvPr/>
          </p:nvSpPr>
          <p:spPr bwMode="auto">
            <a:xfrm>
              <a:off x="1676401" y="5759451"/>
              <a:ext cx="171450" cy="1587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Rectangle 475">
              <a:extLst>
                <a:ext uri="{FF2B5EF4-FFF2-40B4-BE49-F238E27FC236}">
                  <a16:creationId xmlns:a16="http://schemas.microsoft.com/office/drawing/2014/main" id="{4A593705-B162-5B8B-1909-29D0D6E9E9A6}"/>
                </a:ext>
              </a:extLst>
            </p:cNvPr>
            <p:cNvSpPr>
              <a:spLocks noChangeArrowheads="1"/>
            </p:cNvSpPr>
            <p:nvPr/>
          </p:nvSpPr>
          <p:spPr bwMode="auto">
            <a:xfrm>
              <a:off x="1676401" y="5951538"/>
              <a:ext cx="171450" cy="1476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476">
              <a:extLst>
                <a:ext uri="{FF2B5EF4-FFF2-40B4-BE49-F238E27FC236}">
                  <a16:creationId xmlns:a16="http://schemas.microsoft.com/office/drawing/2014/main" id="{91B91523-8152-D61E-95E2-E428F8DFF18F}"/>
                </a:ext>
              </a:extLst>
            </p:cNvPr>
            <p:cNvSpPr>
              <a:spLocks/>
            </p:cNvSpPr>
            <p:nvPr/>
          </p:nvSpPr>
          <p:spPr bwMode="auto">
            <a:xfrm>
              <a:off x="1204913" y="5926138"/>
              <a:ext cx="388938" cy="85725"/>
            </a:xfrm>
            <a:custGeom>
              <a:avLst/>
              <a:gdLst>
                <a:gd name="T0" fmla="*/ 103 w 103"/>
                <a:gd name="T1" fmla="*/ 23 h 23"/>
                <a:gd name="T2" fmla="*/ 79 w 103"/>
                <a:gd name="T3" fmla="*/ 5 h 23"/>
                <a:gd name="T4" fmla="*/ 60 w 103"/>
                <a:gd name="T5" fmla="*/ 11 h 23"/>
                <a:gd name="T6" fmla="*/ 51 w 103"/>
                <a:gd name="T7" fmla="*/ 5 h 23"/>
                <a:gd name="T8" fmla="*/ 43 w 103"/>
                <a:gd name="T9" fmla="*/ 11 h 23"/>
                <a:gd name="T10" fmla="*/ 28 w 103"/>
                <a:gd name="T11" fmla="*/ 0 h 23"/>
                <a:gd name="T12" fmla="*/ 12 w 103"/>
                <a:gd name="T13" fmla="*/ 14 h 23"/>
                <a:gd name="T14" fmla="*/ 8 w 103"/>
                <a:gd name="T15" fmla="*/ 12 h 23"/>
                <a:gd name="T16" fmla="*/ 0 w 103"/>
                <a:gd name="T17" fmla="*/ 23 h 23"/>
                <a:gd name="T18" fmla="*/ 103 w 10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23">
                  <a:moveTo>
                    <a:pt x="103" y="23"/>
                  </a:moveTo>
                  <a:cubicBezTo>
                    <a:pt x="103" y="13"/>
                    <a:pt x="92" y="5"/>
                    <a:pt x="79" y="5"/>
                  </a:cubicBezTo>
                  <a:cubicBezTo>
                    <a:pt x="71" y="5"/>
                    <a:pt x="65" y="8"/>
                    <a:pt x="60" y="11"/>
                  </a:cubicBezTo>
                  <a:cubicBezTo>
                    <a:pt x="58" y="8"/>
                    <a:pt x="55" y="5"/>
                    <a:pt x="51" y="5"/>
                  </a:cubicBezTo>
                  <a:cubicBezTo>
                    <a:pt x="48" y="5"/>
                    <a:pt x="45" y="7"/>
                    <a:pt x="43" y="11"/>
                  </a:cubicBezTo>
                  <a:cubicBezTo>
                    <a:pt x="40" y="5"/>
                    <a:pt x="34" y="0"/>
                    <a:pt x="28" y="0"/>
                  </a:cubicBezTo>
                  <a:cubicBezTo>
                    <a:pt x="20" y="0"/>
                    <a:pt x="13" y="6"/>
                    <a:pt x="12" y="14"/>
                  </a:cubicBezTo>
                  <a:cubicBezTo>
                    <a:pt x="10" y="13"/>
                    <a:pt x="9" y="12"/>
                    <a:pt x="8" y="12"/>
                  </a:cubicBezTo>
                  <a:cubicBezTo>
                    <a:pt x="3" y="12"/>
                    <a:pt x="0" y="17"/>
                    <a:pt x="0" y="23"/>
                  </a:cubicBezTo>
                  <a:lnTo>
                    <a:pt x="103" y="23"/>
                  </a:lnTo>
                  <a:close/>
                </a:path>
              </a:pathLst>
            </a:custGeom>
            <a:solidFill>
              <a:srgbClr val="0D9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Rectangle 477">
              <a:extLst>
                <a:ext uri="{FF2B5EF4-FFF2-40B4-BE49-F238E27FC236}">
                  <a16:creationId xmlns:a16="http://schemas.microsoft.com/office/drawing/2014/main" id="{8283188C-95B0-1BDA-C326-33BC9E0F4B76}"/>
                </a:ext>
              </a:extLst>
            </p:cNvPr>
            <p:cNvSpPr>
              <a:spLocks noChangeArrowheads="1"/>
            </p:cNvSpPr>
            <p:nvPr/>
          </p:nvSpPr>
          <p:spPr bwMode="auto">
            <a:xfrm>
              <a:off x="1204913" y="6011863"/>
              <a:ext cx="388938" cy="87313"/>
            </a:xfrm>
            <a:prstGeom prst="rect">
              <a:avLst/>
            </a:prstGeom>
            <a:solidFill>
              <a:srgbClr val="9C6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Rectangle 478">
              <a:extLst>
                <a:ext uri="{FF2B5EF4-FFF2-40B4-BE49-F238E27FC236}">
                  <a16:creationId xmlns:a16="http://schemas.microsoft.com/office/drawing/2014/main" id="{A3C797B6-1571-09C1-E56C-DCFF84CEAC0E}"/>
                </a:ext>
              </a:extLst>
            </p:cNvPr>
            <p:cNvSpPr>
              <a:spLocks noChangeArrowheads="1"/>
            </p:cNvSpPr>
            <p:nvPr/>
          </p:nvSpPr>
          <p:spPr bwMode="auto">
            <a:xfrm>
              <a:off x="1204913" y="6011863"/>
              <a:ext cx="388938" cy="26988"/>
            </a:xfrm>
            <a:prstGeom prst="rect">
              <a:avLst/>
            </a:prstGeom>
            <a:solidFill>
              <a:srgbClr val="AF76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4" name="Slide Number Placeholder 93">
            <a:extLst>
              <a:ext uri="{FF2B5EF4-FFF2-40B4-BE49-F238E27FC236}">
                <a16:creationId xmlns:a16="http://schemas.microsoft.com/office/drawing/2014/main" id="{24410DF0-1475-2DE4-0760-0FCAC7E46CD3}"/>
              </a:ext>
            </a:extLst>
          </p:cNvPr>
          <p:cNvSpPr>
            <a:spLocks noGrp="1"/>
          </p:cNvSpPr>
          <p:nvPr>
            <p:ph type="sldNum" sz="quarter" idx="12"/>
          </p:nvPr>
        </p:nvSpPr>
        <p:spPr/>
        <p:txBody>
          <a:bodyPr/>
          <a:lstStyle/>
          <a:p>
            <a:fld id="{8D05A9CD-9176-4D89-A414-3BEEE81BBC77}" type="slidenum">
              <a:rPr lang="en-US" smtClean="0"/>
              <a:pPr/>
              <a:t>41</a:t>
            </a:fld>
            <a:endParaRPr lang="en-US"/>
          </a:p>
        </p:txBody>
      </p:sp>
      <p:pic>
        <p:nvPicPr>
          <p:cNvPr id="3" name="Picture 2" descr="A red and blue text on a black background&#10;&#10;Description automatically generated">
            <a:extLst>
              <a:ext uri="{FF2B5EF4-FFF2-40B4-BE49-F238E27FC236}">
                <a16:creationId xmlns:a16="http://schemas.microsoft.com/office/drawing/2014/main" id="{5E01D893-5672-C85D-6734-8A9EA8B14C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06841" y="-532535"/>
            <a:ext cx="1806735" cy="1806735"/>
          </a:xfrm>
          <a:prstGeom prst="rect">
            <a:avLst/>
          </a:prstGeom>
        </p:spPr>
      </p:pic>
      <p:pic>
        <p:nvPicPr>
          <p:cNvPr id="6" name="Picture 5" descr="A blue and white lego pieces&#10;&#10;Description automatically generated">
            <a:extLst>
              <a:ext uri="{FF2B5EF4-FFF2-40B4-BE49-F238E27FC236}">
                <a16:creationId xmlns:a16="http://schemas.microsoft.com/office/drawing/2014/main" id="{05008B37-2279-5100-7C6A-7109EB13CDE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617519" y="534999"/>
            <a:ext cx="1859812" cy="1859812"/>
          </a:xfrm>
          <a:prstGeom prst="rect">
            <a:avLst/>
          </a:prstGeom>
        </p:spPr>
      </p:pic>
      <p:pic>
        <p:nvPicPr>
          <p:cNvPr id="9" name="Picture 8" descr="A close up of a toy&#10;&#10;Description automatically generated">
            <a:extLst>
              <a:ext uri="{FF2B5EF4-FFF2-40B4-BE49-F238E27FC236}">
                <a16:creationId xmlns:a16="http://schemas.microsoft.com/office/drawing/2014/main" id="{E095378E-A2B1-D5D6-5590-6A969B3ADE5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514524" y="2253411"/>
            <a:ext cx="2071388" cy="2071388"/>
          </a:xfrm>
          <a:prstGeom prst="rect">
            <a:avLst/>
          </a:prstGeom>
        </p:spPr>
      </p:pic>
      <p:pic>
        <p:nvPicPr>
          <p:cNvPr id="29" name="Picture 28" descr="A yellow and orange toy&#10;&#10;Description automatically generated">
            <a:extLst>
              <a:ext uri="{FF2B5EF4-FFF2-40B4-BE49-F238E27FC236}">
                <a16:creationId xmlns:a16="http://schemas.microsoft.com/office/drawing/2014/main" id="{5F785561-50E5-0D98-03FF-0B0E082629EB}"/>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6469299" y="4115045"/>
            <a:ext cx="2318096" cy="2318096"/>
          </a:xfrm>
          <a:prstGeom prst="rect">
            <a:avLst/>
          </a:prstGeom>
        </p:spPr>
      </p:pic>
      <p:pic>
        <p:nvPicPr>
          <p:cNvPr id="30" name="Picture 29" descr="A toy building set with a blue figure&#10;&#10;Description automatically generated with medium confidence">
            <a:extLst>
              <a:ext uri="{FF2B5EF4-FFF2-40B4-BE49-F238E27FC236}">
                <a16:creationId xmlns:a16="http://schemas.microsoft.com/office/drawing/2014/main" id="{FB2E4951-C7BF-80A6-9F94-97B56EC5797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836487" y="809023"/>
            <a:ext cx="5147192" cy="4880344"/>
          </a:xfrm>
          <a:prstGeom prst="rect">
            <a:avLst/>
          </a:prstGeom>
        </p:spPr>
      </p:pic>
      <p:pic>
        <p:nvPicPr>
          <p:cNvPr id="7" name="Picture 2">
            <a:extLst>
              <a:ext uri="{FF2B5EF4-FFF2-40B4-BE49-F238E27FC236}">
                <a16:creationId xmlns:a16="http://schemas.microsoft.com/office/drawing/2014/main" id="{0749DE35-42C7-E1BD-0C97-0AF701653941}"/>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615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8B50F-E0E6-A035-C024-D71F5032D45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909BCD-8FFA-98AF-381E-E40C328171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6909BCD-8FFA-98AF-381E-E40C328171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60199129-73BF-3B5B-9384-9DC33B92AD0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1" name="Freeform 46">
            <a:extLst>
              <a:ext uri="{FF2B5EF4-FFF2-40B4-BE49-F238E27FC236}">
                <a16:creationId xmlns:a16="http://schemas.microsoft.com/office/drawing/2014/main" id="{C70243D8-F7B9-A886-6F8D-EFCCBF822A6C}"/>
              </a:ext>
            </a:extLst>
          </p:cNvPr>
          <p:cNvSpPr/>
          <p:nvPr/>
        </p:nvSpPr>
        <p:spPr>
          <a:xfrm>
            <a:off x="6107351"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46">
            <a:extLst>
              <a:ext uri="{FF2B5EF4-FFF2-40B4-BE49-F238E27FC236}">
                <a16:creationId xmlns:a16="http://schemas.microsoft.com/office/drawing/2014/main" id="{9BC69F7D-0CFF-98CE-AC16-5BC1C07181E6}"/>
              </a:ext>
            </a:extLst>
          </p:cNvPr>
          <p:cNvSpPr/>
          <p:nvPr/>
        </p:nvSpPr>
        <p:spPr>
          <a:xfrm>
            <a:off x="7993128"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6">
            <a:extLst>
              <a:ext uri="{FF2B5EF4-FFF2-40B4-BE49-F238E27FC236}">
                <a16:creationId xmlns:a16="http://schemas.microsoft.com/office/drawing/2014/main" id="{EE665F3A-FFBA-58E8-8335-0607AD9346AB}"/>
              </a:ext>
            </a:extLst>
          </p:cNvPr>
          <p:cNvSpPr/>
          <p:nvPr/>
        </p:nvSpPr>
        <p:spPr>
          <a:xfrm>
            <a:off x="9878905"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ángulo 6175">
            <a:extLst>
              <a:ext uri="{FF2B5EF4-FFF2-40B4-BE49-F238E27FC236}">
                <a16:creationId xmlns:a16="http://schemas.microsoft.com/office/drawing/2014/main" id="{DC8853F1-35FB-DB6C-22D8-73279A0E9537}"/>
              </a:ext>
            </a:extLst>
          </p:cNvPr>
          <p:cNvSpPr/>
          <p:nvPr/>
        </p:nvSpPr>
        <p:spPr>
          <a:xfrm>
            <a:off x="0" y="-36682"/>
            <a:ext cx="12214702" cy="268384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任意多边形: 形状 16">
            <a:extLst>
              <a:ext uri="{FF2B5EF4-FFF2-40B4-BE49-F238E27FC236}">
                <a16:creationId xmlns:a16="http://schemas.microsoft.com/office/drawing/2014/main" id="{B463C97A-83C5-0C5E-86F8-F4EC296F1B1F}"/>
              </a:ext>
            </a:extLst>
          </p:cNvPr>
          <p:cNvSpPr/>
          <p:nvPr/>
        </p:nvSpPr>
        <p:spPr>
          <a:xfrm rot="10800000">
            <a:off x="27305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任意多边形: 形状 16">
            <a:extLst>
              <a:ext uri="{FF2B5EF4-FFF2-40B4-BE49-F238E27FC236}">
                <a16:creationId xmlns:a16="http://schemas.microsoft.com/office/drawing/2014/main" id="{695A8EC2-D52E-0C40-D4BE-C5D62ADA9CEA}"/>
              </a:ext>
            </a:extLst>
          </p:cNvPr>
          <p:cNvSpPr/>
          <p:nvPr/>
        </p:nvSpPr>
        <p:spPr>
          <a:xfrm rot="10800000">
            <a:off x="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任意多边形: 形状 16">
            <a:extLst>
              <a:ext uri="{FF2B5EF4-FFF2-40B4-BE49-F238E27FC236}">
                <a16:creationId xmlns:a16="http://schemas.microsoft.com/office/drawing/2014/main" id="{0C41859A-A87C-A43B-2794-53268C0DD114}"/>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形状 16">
            <a:extLst>
              <a:ext uri="{FF2B5EF4-FFF2-40B4-BE49-F238E27FC236}">
                <a16:creationId xmlns:a16="http://schemas.microsoft.com/office/drawing/2014/main" id="{817210AD-33DC-FD8C-7F54-8B713AE64180}"/>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任意多边形: 形状 16">
            <a:extLst>
              <a:ext uri="{FF2B5EF4-FFF2-40B4-BE49-F238E27FC236}">
                <a16:creationId xmlns:a16="http://schemas.microsoft.com/office/drawing/2014/main" id="{EC2598FA-7B75-F140-589D-BD6C246B7184}"/>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任意多边形: 形状 16">
            <a:extLst>
              <a:ext uri="{FF2B5EF4-FFF2-40B4-BE49-F238E27FC236}">
                <a16:creationId xmlns:a16="http://schemas.microsoft.com/office/drawing/2014/main" id="{379B2D1A-4FCB-9B2B-DF94-CEA7754F8272}"/>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Freeform: Shape 107">
            <a:extLst>
              <a:ext uri="{FF2B5EF4-FFF2-40B4-BE49-F238E27FC236}">
                <a16:creationId xmlns:a16="http://schemas.microsoft.com/office/drawing/2014/main" id="{B2F023EC-C172-6BB0-EFBE-721F04571AF3}"/>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4" name="任意多边形: 形状 16">
            <a:extLst>
              <a:ext uri="{FF2B5EF4-FFF2-40B4-BE49-F238E27FC236}">
                <a16:creationId xmlns:a16="http://schemas.microsoft.com/office/drawing/2014/main" id="{6E4E22C5-E870-D07E-A082-8B8CE5B6DE46}"/>
              </a:ext>
            </a:extLst>
          </p:cNvPr>
          <p:cNvSpPr/>
          <p:nvPr/>
        </p:nvSpPr>
        <p:spPr>
          <a:xfrm rot="10800000">
            <a:off x="54610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16">
            <a:extLst>
              <a:ext uri="{FF2B5EF4-FFF2-40B4-BE49-F238E27FC236}">
                <a16:creationId xmlns:a16="http://schemas.microsoft.com/office/drawing/2014/main" id="{7856718F-AD2D-6BF2-71E9-B62FD9278457}"/>
              </a:ext>
            </a:extLst>
          </p:cNvPr>
          <p:cNvSpPr/>
          <p:nvPr/>
        </p:nvSpPr>
        <p:spPr>
          <a:xfrm rot="10800000">
            <a:off x="82042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Freeform: Shape 27">
            <a:extLst>
              <a:ext uri="{FF2B5EF4-FFF2-40B4-BE49-F238E27FC236}">
                <a16:creationId xmlns:a16="http://schemas.microsoft.com/office/drawing/2014/main" id="{09233A65-758F-AB02-50C7-822E341C1A4F}"/>
              </a:ext>
            </a:extLst>
          </p:cNvPr>
          <p:cNvSpPr/>
          <p:nvPr/>
        </p:nvSpPr>
        <p:spPr>
          <a:xfrm rot="10800000">
            <a:off x="10947400" y="262039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Oval 4">
            <a:extLst>
              <a:ext uri="{FF2B5EF4-FFF2-40B4-BE49-F238E27FC236}">
                <a16:creationId xmlns:a16="http://schemas.microsoft.com/office/drawing/2014/main" id="{2254F404-9076-7034-BECD-5570F0A2BBBF}"/>
              </a:ext>
            </a:extLst>
          </p:cNvPr>
          <p:cNvSpPr/>
          <p:nvPr/>
        </p:nvSpPr>
        <p:spPr>
          <a:xfrm>
            <a:off x="566057" y="983343"/>
            <a:ext cx="4891314" cy="4891314"/>
          </a:xfrm>
          <a:prstGeom prst="ellipse">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Background pattern&#10;&#10;Description automatically generated">
            <a:extLst>
              <a:ext uri="{FF2B5EF4-FFF2-40B4-BE49-F238E27FC236}">
                <a16:creationId xmlns:a16="http://schemas.microsoft.com/office/drawing/2014/main" id="{228A4333-8B18-542A-372D-251D6C815393}"/>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788390" y="1205676"/>
            <a:ext cx="4446650" cy="4446650"/>
          </a:xfrm>
          <a:custGeom>
            <a:avLst/>
            <a:gdLst>
              <a:gd name="connsiteX0" fmla="*/ 2223325 w 4446650"/>
              <a:gd name="connsiteY0" fmla="*/ 0 h 4446650"/>
              <a:gd name="connsiteX1" fmla="*/ 4446650 w 4446650"/>
              <a:gd name="connsiteY1" fmla="*/ 2223325 h 4446650"/>
              <a:gd name="connsiteX2" fmla="*/ 2223325 w 4446650"/>
              <a:gd name="connsiteY2" fmla="*/ 4446650 h 4446650"/>
              <a:gd name="connsiteX3" fmla="*/ 0 w 4446650"/>
              <a:gd name="connsiteY3" fmla="*/ 2223325 h 4446650"/>
              <a:gd name="connsiteX4" fmla="*/ 2223325 w 4446650"/>
              <a:gd name="connsiteY4" fmla="*/ 0 h 444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650" h="4446650">
                <a:moveTo>
                  <a:pt x="2223325" y="0"/>
                </a:moveTo>
                <a:cubicBezTo>
                  <a:pt x="3451233" y="0"/>
                  <a:pt x="4446650" y="995417"/>
                  <a:pt x="4446650" y="2223325"/>
                </a:cubicBezTo>
                <a:cubicBezTo>
                  <a:pt x="4446650" y="3451233"/>
                  <a:pt x="3451233" y="4446650"/>
                  <a:pt x="2223325" y="4446650"/>
                </a:cubicBezTo>
                <a:cubicBezTo>
                  <a:pt x="995417" y="4446650"/>
                  <a:pt x="0" y="3451233"/>
                  <a:pt x="0" y="2223325"/>
                </a:cubicBezTo>
                <a:cubicBezTo>
                  <a:pt x="0" y="995417"/>
                  <a:pt x="995417" y="0"/>
                  <a:pt x="2223325" y="0"/>
                </a:cubicBezTo>
                <a:close/>
              </a:path>
            </a:pathLst>
          </a:custGeom>
        </p:spPr>
      </p:pic>
      <p:sp>
        <p:nvSpPr>
          <p:cNvPr id="6" name="Oval 5">
            <a:extLst>
              <a:ext uri="{FF2B5EF4-FFF2-40B4-BE49-F238E27FC236}">
                <a16:creationId xmlns:a16="http://schemas.microsoft.com/office/drawing/2014/main" id="{78B8EF0E-C35D-9FE1-0F14-A558426C9921}"/>
              </a:ext>
            </a:extLst>
          </p:cNvPr>
          <p:cNvSpPr/>
          <p:nvPr/>
        </p:nvSpPr>
        <p:spPr>
          <a:xfrm>
            <a:off x="3811331" y="4575688"/>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a:extLst>
              <a:ext uri="{FF2B5EF4-FFF2-40B4-BE49-F238E27FC236}">
                <a16:creationId xmlns:a16="http://schemas.microsoft.com/office/drawing/2014/main" id="{7E322145-1FD2-0665-45E8-8C667F61525C}"/>
              </a:ext>
            </a:extLst>
          </p:cNvPr>
          <p:cNvSpPr>
            <a:spLocks noGrp="1"/>
          </p:cNvSpPr>
          <p:nvPr>
            <p:ph type="title"/>
          </p:nvPr>
        </p:nvSpPr>
        <p:spPr>
          <a:xfrm>
            <a:off x="5908220" y="1119031"/>
            <a:ext cx="5989148" cy="741568"/>
          </a:xfrm>
        </p:spPr>
        <p:txBody>
          <a:bodyPr lIns="0" rIns="0">
            <a:normAutofit fontScale="90000"/>
          </a:bodyPr>
          <a:lstStyle/>
          <a:p>
            <a:r>
              <a:rPr lang="en-US" b="1">
                <a:solidFill>
                  <a:schemeClr val="bg1"/>
                </a:solidFill>
                <a:latin typeface="Segoe UI" panose="020B0502040204020203" pitchFamily="34" charset="0"/>
                <a:cs typeface="Segoe UI" panose="020B0502040204020203" pitchFamily="34" charset="0"/>
              </a:rPr>
              <a:t>Security Considerations</a:t>
            </a:r>
          </a:p>
        </p:txBody>
      </p:sp>
      <p:sp>
        <p:nvSpPr>
          <p:cNvPr id="44" name="Oval 43">
            <a:extLst>
              <a:ext uri="{FF2B5EF4-FFF2-40B4-BE49-F238E27FC236}">
                <a16:creationId xmlns:a16="http://schemas.microsoft.com/office/drawing/2014/main" id="{76B4AD1C-CDCA-4A31-CEB4-2C1B205E6F9E}"/>
              </a:ext>
            </a:extLst>
          </p:cNvPr>
          <p:cNvSpPr/>
          <p:nvPr/>
        </p:nvSpPr>
        <p:spPr>
          <a:xfrm>
            <a:off x="6495049"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E286347B-46A3-6088-052B-35902651268D}"/>
              </a:ext>
            </a:extLst>
          </p:cNvPr>
          <p:cNvSpPr/>
          <p:nvPr/>
        </p:nvSpPr>
        <p:spPr>
          <a:xfrm>
            <a:off x="8380826"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AAB1EE3-C147-819C-D06B-7AB839BA09E8}"/>
              </a:ext>
            </a:extLst>
          </p:cNvPr>
          <p:cNvSpPr/>
          <p:nvPr/>
        </p:nvSpPr>
        <p:spPr>
          <a:xfrm>
            <a:off x="10266603"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B00F362B-FD85-FCE5-F08B-421E9B67878F}"/>
              </a:ext>
            </a:extLst>
          </p:cNvPr>
          <p:cNvSpPr/>
          <p:nvPr/>
        </p:nvSpPr>
        <p:spPr>
          <a:xfrm>
            <a:off x="6675899"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86FADCF6-8FEA-B51F-705B-AE387ADF682A}"/>
              </a:ext>
            </a:extLst>
          </p:cNvPr>
          <p:cNvSpPr/>
          <p:nvPr/>
        </p:nvSpPr>
        <p:spPr>
          <a:xfrm>
            <a:off x="8561676"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C56B30C-A2A5-99BD-9F99-1328050F3E66}"/>
              </a:ext>
            </a:extLst>
          </p:cNvPr>
          <p:cNvSpPr/>
          <p:nvPr/>
        </p:nvSpPr>
        <p:spPr>
          <a:xfrm>
            <a:off x="10447453"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itle 1">
            <a:extLst>
              <a:ext uri="{FF2B5EF4-FFF2-40B4-BE49-F238E27FC236}">
                <a16:creationId xmlns:a16="http://schemas.microsoft.com/office/drawing/2014/main" id="{95A837CE-EFAE-4EE4-EE70-119387574146}"/>
              </a:ext>
            </a:extLst>
          </p:cNvPr>
          <p:cNvSpPr txBox="1">
            <a:spLocks/>
          </p:cNvSpPr>
          <p:nvPr/>
        </p:nvSpPr>
        <p:spPr>
          <a:xfrm>
            <a:off x="6124672" y="1262352"/>
            <a:ext cx="5501148" cy="1040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endParaRPr lang="en-US" sz="2000">
              <a:solidFill>
                <a:schemeClr val="bg1"/>
              </a:solidFill>
              <a:latin typeface="Segoe UI" panose="020B0502040204020203" pitchFamily="34" charset="0"/>
              <a:cs typeface="Segoe UI" panose="020B0502040204020203" pitchFamily="34" charset="0"/>
            </a:endParaRPr>
          </a:p>
        </p:txBody>
      </p:sp>
      <p:grpSp>
        <p:nvGrpSpPr>
          <p:cNvPr id="51" name="Group 50">
            <a:extLst>
              <a:ext uri="{FF2B5EF4-FFF2-40B4-BE49-F238E27FC236}">
                <a16:creationId xmlns:a16="http://schemas.microsoft.com/office/drawing/2014/main" id="{7780D1FE-A538-76C1-C52C-C17571B42504}"/>
              </a:ext>
            </a:extLst>
          </p:cNvPr>
          <p:cNvGrpSpPr/>
          <p:nvPr/>
        </p:nvGrpSpPr>
        <p:grpSpPr>
          <a:xfrm>
            <a:off x="6847631" y="2912136"/>
            <a:ext cx="259771" cy="259772"/>
            <a:chOff x="6773863" y="639763"/>
            <a:chExt cx="771525" cy="771526"/>
          </a:xfrm>
          <a:effectLst>
            <a:outerShdw dist="38100" dir="2700000" algn="tl" rotWithShape="0">
              <a:prstClr val="black">
                <a:alpha val="20000"/>
              </a:prstClr>
            </a:outerShdw>
          </a:effectLst>
        </p:grpSpPr>
        <p:sp>
          <p:nvSpPr>
            <p:cNvPr id="53" name="Freeform 54">
              <a:extLst>
                <a:ext uri="{FF2B5EF4-FFF2-40B4-BE49-F238E27FC236}">
                  <a16:creationId xmlns:a16="http://schemas.microsoft.com/office/drawing/2014/main" id="{4B1AD6A6-AD50-4C74-EF36-9F3A956D2557}"/>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55">
              <a:extLst>
                <a:ext uri="{FF2B5EF4-FFF2-40B4-BE49-F238E27FC236}">
                  <a16:creationId xmlns:a16="http://schemas.microsoft.com/office/drawing/2014/main" id="{B96E6E74-C7D9-B60B-447E-FFD779D15C2A}"/>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56">
              <a:extLst>
                <a:ext uri="{FF2B5EF4-FFF2-40B4-BE49-F238E27FC236}">
                  <a16:creationId xmlns:a16="http://schemas.microsoft.com/office/drawing/2014/main" id="{A51EC5F6-CDE6-6855-AB1C-6EBF4D87A507}"/>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Rectangle 57">
              <a:extLst>
                <a:ext uri="{FF2B5EF4-FFF2-40B4-BE49-F238E27FC236}">
                  <a16:creationId xmlns:a16="http://schemas.microsoft.com/office/drawing/2014/main" id="{66660808-4DCA-6737-A3C6-C46EB8C2891D}"/>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Rectangle 58">
              <a:extLst>
                <a:ext uri="{FF2B5EF4-FFF2-40B4-BE49-F238E27FC236}">
                  <a16:creationId xmlns:a16="http://schemas.microsoft.com/office/drawing/2014/main" id="{C5DF8AE6-CA65-6ACD-4B89-F2143E54E838}"/>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Rectangle 59">
              <a:extLst>
                <a:ext uri="{FF2B5EF4-FFF2-40B4-BE49-F238E27FC236}">
                  <a16:creationId xmlns:a16="http://schemas.microsoft.com/office/drawing/2014/main" id="{8689392E-85AD-E395-5056-EB86E725DF21}"/>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Rectangle 60">
              <a:extLst>
                <a:ext uri="{FF2B5EF4-FFF2-40B4-BE49-F238E27FC236}">
                  <a16:creationId xmlns:a16="http://schemas.microsoft.com/office/drawing/2014/main" id="{6C253469-2001-5353-F4FA-CFD4791E70B5}"/>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Rectangle 61">
              <a:extLst>
                <a:ext uri="{FF2B5EF4-FFF2-40B4-BE49-F238E27FC236}">
                  <a16:creationId xmlns:a16="http://schemas.microsoft.com/office/drawing/2014/main" id="{0FBE3123-DEF9-B7D7-C945-0A5EA2FEBEDB}"/>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Rectangle 62">
              <a:extLst>
                <a:ext uri="{FF2B5EF4-FFF2-40B4-BE49-F238E27FC236}">
                  <a16:creationId xmlns:a16="http://schemas.microsoft.com/office/drawing/2014/main" id="{CD5E6F3A-801C-7091-CAB3-E5AD09C1F24A}"/>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Rectangle 63">
              <a:extLst>
                <a:ext uri="{FF2B5EF4-FFF2-40B4-BE49-F238E27FC236}">
                  <a16:creationId xmlns:a16="http://schemas.microsoft.com/office/drawing/2014/main" id="{28391C53-38E6-7DB8-EC23-8D4D31D651D2}"/>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Rectangle 64">
              <a:extLst>
                <a:ext uri="{FF2B5EF4-FFF2-40B4-BE49-F238E27FC236}">
                  <a16:creationId xmlns:a16="http://schemas.microsoft.com/office/drawing/2014/main" id="{B4B6565E-CFDA-ED54-B378-B2952A3F272F}"/>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Rectangle 65">
              <a:extLst>
                <a:ext uri="{FF2B5EF4-FFF2-40B4-BE49-F238E27FC236}">
                  <a16:creationId xmlns:a16="http://schemas.microsoft.com/office/drawing/2014/main" id="{96BCC791-14A8-12EA-2DE5-0F01236FD024}"/>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Rectangle 66">
              <a:extLst>
                <a:ext uri="{FF2B5EF4-FFF2-40B4-BE49-F238E27FC236}">
                  <a16:creationId xmlns:a16="http://schemas.microsoft.com/office/drawing/2014/main" id="{D5280F11-CA80-EDA2-DA6E-FBAFA4A2096E}"/>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Rectangle 67">
              <a:extLst>
                <a:ext uri="{FF2B5EF4-FFF2-40B4-BE49-F238E27FC236}">
                  <a16:creationId xmlns:a16="http://schemas.microsoft.com/office/drawing/2014/main" id="{BA06EDBB-07FA-19CC-1558-8D0315662A61}"/>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Rectangle 68">
              <a:extLst>
                <a:ext uri="{FF2B5EF4-FFF2-40B4-BE49-F238E27FC236}">
                  <a16:creationId xmlns:a16="http://schemas.microsoft.com/office/drawing/2014/main" id="{1E02E824-F76E-FBD7-BD39-B0BDACEF04B6}"/>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69">
              <a:extLst>
                <a:ext uri="{FF2B5EF4-FFF2-40B4-BE49-F238E27FC236}">
                  <a16:creationId xmlns:a16="http://schemas.microsoft.com/office/drawing/2014/main" id="{D27D0317-EDA3-F553-4E3D-D3647F7952E2}"/>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70">
              <a:extLst>
                <a:ext uri="{FF2B5EF4-FFF2-40B4-BE49-F238E27FC236}">
                  <a16:creationId xmlns:a16="http://schemas.microsoft.com/office/drawing/2014/main" id="{999125BF-5DBF-1318-6F4E-EF87A7A5F133}"/>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71">
              <a:extLst>
                <a:ext uri="{FF2B5EF4-FFF2-40B4-BE49-F238E27FC236}">
                  <a16:creationId xmlns:a16="http://schemas.microsoft.com/office/drawing/2014/main" id="{7BC474F7-B707-FD6D-DBA4-859AB819779C}"/>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DF02A91E-D61C-FB0F-549B-6656098716AE}"/>
              </a:ext>
            </a:extLst>
          </p:cNvPr>
          <p:cNvGrpSpPr/>
          <p:nvPr/>
        </p:nvGrpSpPr>
        <p:grpSpPr>
          <a:xfrm>
            <a:off x="8732071" y="2910800"/>
            <a:ext cx="262445" cy="262445"/>
            <a:chOff x="10369550" y="5518150"/>
            <a:chExt cx="779463" cy="779463"/>
          </a:xfrm>
          <a:effectLst>
            <a:outerShdw dist="38100" dir="2700000" algn="tl" rotWithShape="0">
              <a:prstClr val="black">
                <a:alpha val="20000"/>
              </a:prstClr>
            </a:outerShdw>
          </a:effectLst>
        </p:grpSpPr>
        <p:sp>
          <p:nvSpPr>
            <p:cNvPr id="73" name="Freeform 231">
              <a:extLst>
                <a:ext uri="{FF2B5EF4-FFF2-40B4-BE49-F238E27FC236}">
                  <a16:creationId xmlns:a16="http://schemas.microsoft.com/office/drawing/2014/main" id="{D89847A8-05DD-D3D5-D931-C60D53DE18BA}"/>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232">
              <a:extLst>
                <a:ext uri="{FF2B5EF4-FFF2-40B4-BE49-F238E27FC236}">
                  <a16:creationId xmlns:a16="http://schemas.microsoft.com/office/drawing/2014/main" id="{F143AB38-4432-DFC3-B5C8-28360D45813C}"/>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233">
              <a:extLst>
                <a:ext uri="{FF2B5EF4-FFF2-40B4-BE49-F238E27FC236}">
                  <a16:creationId xmlns:a16="http://schemas.microsoft.com/office/drawing/2014/main" id="{82354F36-4E3B-61E7-2991-5767DF962845}"/>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Oval 234">
              <a:extLst>
                <a:ext uri="{FF2B5EF4-FFF2-40B4-BE49-F238E27FC236}">
                  <a16:creationId xmlns:a16="http://schemas.microsoft.com/office/drawing/2014/main" id="{97B69ABF-9A7E-5910-EF37-C155F7FF5DC6}"/>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235">
              <a:extLst>
                <a:ext uri="{FF2B5EF4-FFF2-40B4-BE49-F238E27FC236}">
                  <a16:creationId xmlns:a16="http://schemas.microsoft.com/office/drawing/2014/main" id="{5B5E4C48-1849-FDE5-093E-F50FCD9CEE82}"/>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8" name="Group 77">
            <a:extLst>
              <a:ext uri="{FF2B5EF4-FFF2-40B4-BE49-F238E27FC236}">
                <a16:creationId xmlns:a16="http://schemas.microsoft.com/office/drawing/2014/main" id="{4227EF44-1DDA-4A34-02C6-04984FC724A5}"/>
              </a:ext>
            </a:extLst>
          </p:cNvPr>
          <p:cNvGrpSpPr/>
          <p:nvPr/>
        </p:nvGrpSpPr>
        <p:grpSpPr>
          <a:xfrm>
            <a:off x="10605902" y="2898854"/>
            <a:ext cx="286336" cy="286337"/>
            <a:chOff x="8624888" y="2216150"/>
            <a:chExt cx="773112" cy="773113"/>
          </a:xfrm>
          <a:effectLst>
            <a:outerShdw dist="38100" dir="2700000" algn="tl" rotWithShape="0">
              <a:prstClr val="black">
                <a:alpha val="20000"/>
              </a:prstClr>
            </a:outerShdw>
          </a:effectLst>
        </p:grpSpPr>
        <p:sp>
          <p:nvSpPr>
            <p:cNvPr id="80" name="Freeform 117">
              <a:extLst>
                <a:ext uri="{FF2B5EF4-FFF2-40B4-BE49-F238E27FC236}">
                  <a16:creationId xmlns:a16="http://schemas.microsoft.com/office/drawing/2014/main" id="{43EBFC99-F512-19CC-B413-D121B9A5402D}"/>
                </a:ext>
              </a:extLst>
            </p:cNvPr>
            <p:cNvSpPr>
              <a:spLocks noEditPoints="1"/>
            </p:cNvSpPr>
            <p:nvPr/>
          </p:nvSpPr>
          <p:spPr bwMode="auto">
            <a:xfrm>
              <a:off x="8624888" y="2216150"/>
              <a:ext cx="773112" cy="773113"/>
            </a:xfrm>
            <a:custGeom>
              <a:avLst/>
              <a:gdLst>
                <a:gd name="T0" fmla="*/ 102 w 204"/>
                <a:gd name="T1" fmla="*/ 160 h 204"/>
                <a:gd name="T2" fmla="*/ 44 w 204"/>
                <a:gd name="T3" fmla="*/ 102 h 204"/>
                <a:gd name="T4" fmla="*/ 102 w 204"/>
                <a:gd name="T5" fmla="*/ 44 h 204"/>
                <a:gd name="T6" fmla="*/ 160 w 204"/>
                <a:gd name="T7" fmla="*/ 102 h 204"/>
                <a:gd name="T8" fmla="*/ 102 w 204"/>
                <a:gd name="T9" fmla="*/ 160 h 204"/>
                <a:gd name="T10" fmla="*/ 198 w 204"/>
                <a:gd name="T11" fmla="*/ 89 h 204"/>
                <a:gd name="T12" fmla="*/ 178 w 204"/>
                <a:gd name="T13" fmla="*/ 89 h 204"/>
                <a:gd name="T14" fmla="*/ 165 w 204"/>
                <a:gd name="T15" fmla="*/ 58 h 204"/>
                <a:gd name="T16" fmla="*/ 179 w 204"/>
                <a:gd name="T17" fmla="*/ 43 h 204"/>
                <a:gd name="T18" fmla="*/ 179 w 204"/>
                <a:gd name="T19" fmla="*/ 34 h 204"/>
                <a:gd name="T20" fmla="*/ 170 w 204"/>
                <a:gd name="T21" fmla="*/ 25 h 204"/>
                <a:gd name="T22" fmla="*/ 161 w 204"/>
                <a:gd name="T23" fmla="*/ 25 h 204"/>
                <a:gd name="T24" fmla="*/ 146 w 204"/>
                <a:gd name="T25" fmla="*/ 39 h 204"/>
                <a:gd name="T26" fmla="*/ 115 w 204"/>
                <a:gd name="T27" fmla="*/ 26 h 204"/>
                <a:gd name="T28" fmla="*/ 115 w 204"/>
                <a:gd name="T29" fmla="*/ 6 h 204"/>
                <a:gd name="T30" fmla="*/ 108 w 204"/>
                <a:gd name="T31" fmla="*/ 0 h 204"/>
                <a:gd name="T32" fmla="*/ 96 w 204"/>
                <a:gd name="T33" fmla="*/ 0 h 204"/>
                <a:gd name="T34" fmla="*/ 89 w 204"/>
                <a:gd name="T35" fmla="*/ 6 h 204"/>
                <a:gd name="T36" fmla="*/ 89 w 204"/>
                <a:gd name="T37" fmla="*/ 26 h 204"/>
                <a:gd name="T38" fmla="*/ 58 w 204"/>
                <a:gd name="T39" fmla="*/ 39 h 204"/>
                <a:gd name="T40" fmla="*/ 43 w 204"/>
                <a:gd name="T41" fmla="*/ 25 h 204"/>
                <a:gd name="T42" fmla="*/ 34 w 204"/>
                <a:gd name="T43" fmla="*/ 25 h 204"/>
                <a:gd name="T44" fmla="*/ 25 w 204"/>
                <a:gd name="T45" fmla="*/ 34 h 204"/>
                <a:gd name="T46" fmla="*/ 25 w 204"/>
                <a:gd name="T47" fmla="*/ 43 h 204"/>
                <a:gd name="T48" fmla="*/ 39 w 204"/>
                <a:gd name="T49" fmla="*/ 58 h 204"/>
                <a:gd name="T50" fmla="*/ 26 w 204"/>
                <a:gd name="T51" fmla="*/ 89 h 204"/>
                <a:gd name="T52" fmla="*/ 6 w 204"/>
                <a:gd name="T53" fmla="*/ 89 h 204"/>
                <a:gd name="T54" fmla="*/ 0 w 204"/>
                <a:gd name="T55" fmla="*/ 96 h 204"/>
                <a:gd name="T56" fmla="*/ 0 w 204"/>
                <a:gd name="T57" fmla="*/ 108 h 204"/>
                <a:gd name="T58" fmla="*/ 6 w 204"/>
                <a:gd name="T59" fmla="*/ 115 h 204"/>
                <a:gd name="T60" fmla="*/ 26 w 204"/>
                <a:gd name="T61" fmla="*/ 115 h 204"/>
                <a:gd name="T62" fmla="*/ 39 w 204"/>
                <a:gd name="T63" fmla="*/ 146 h 204"/>
                <a:gd name="T64" fmla="*/ 25 w 204"/>
                <a:gd name="T65" fmla="*/ 161 h 204"/>
                <a:gd name="T66" fmla="*/ 25 w 204"/>
                <a:gd name="T67" fmla="*/ 170 h 204"/>
                <a:gd name="T68" fmla="*/ 34 w 204"/>
                <a:gd name="T69" fmla="*/ 179 h 204"/>
                <a:gd name="T70" fmla="*/ 43 w 204"/>
                <a:gd name="T71" fmla="*/ 179 h 204"/>
                <a:gd name="T72" fmla="*/ 58 w 204"/>
                <a:gd name="T73" fmla="*/ 165 h 204"/>
                <a:gd name="T74" fmla="*/ 89 w 204"/>
                <a:gd name="T75" fmla="*/ 178 h 204"/>
                <a:gd name="T76" fmla="*/ 89 w 204"/>
                <a:gd name="T77" fmla="*/ 198 h 204"/>
                <a:gd name="T78" fmla="*/ 96 w 204"/>
                <a:gd name="T79" fmla="*/ 204 h 204"/>
                <a:gd name="T80" fmla="*/ 108 w 204"/>
                <a:gd name="T81" fmla="*/ 204 h 204"/>
                <a:gd name="T82" fmla="*/ 115 w 204"/>
                <a:gd name="T83" fmla="*/ 198 h 204"/>
                <a:gd name="T84" fmla="*/ 115 w 204"/>
                <a:gd name="T85" fmla="*/ 178 h 204"/>
                <a:gd name="T86" fmla="*/ 146 w 204"/>
                <a:gd name="T87" fmla="*/ 165 h 204"/>
                <a:gd name="T88" fmla="*/ 161 w 204"/>
                <a:gd name="T89" fmla="*/ 179 h 204"/>
                <a:gd name="T90" fmla="*/ 170 w 204"/>
                <a:gd name="T91" fmla="*/ 179 h 204"/>
                <a:gd name="T92" fmla="*/ 179 w 204"/>
                <a:gd name="T93" fmla="*/ 170 h 204"/>
                <a:gd name="T94" fmla="*/ 179 w 204"/>
                <a:gd name="T95" fmla="*/ 161 h 204"/>
                <a:gd name="T96" fmla="*/ 165 w 204"/>
                <a:gd name="T97" fmla="*/ 146 h 204"/>
                <a:gd name="T98" fmla="*/ 178 w 204"/>
                <a:gd name="T99" fmla="*/ 115 h 204"/>
                <a:gd name="T100" fmla="*/ 198 w 204"/>
                <a:gd name="T101" fmla="*/ 115 h 204"/>
                <a:gd name="T102" fmla="*/ 204 w 204"/>
                <a:gd name="T103" fmla="*/ 108 h 204"/>
                <a:gd name="T104" fmla="*/ 204 w 204"/>
                <a:gd name="T105" fmla="*/ 96 h 204"/>
                <a:gd name="T106" fmla="*/ 198 w 204"/>
                <a:gd name="T107" fmla="*/ 8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204">
                  <a:moveTo>
                    <a:pt x="102" y="160"/>
                  </a:moveTo>
                  <a:cubicBezTo>
                    <a:pt x="70" y="160"/>
                    <a:pt x="44" y="134"/>
                    <a:pt x="44" y="102"/>
                  </a:cubicBezTo>
                  <a:cubicBezTo>
                    <a:pt x="44" y="71"/>
                    <a:pt x="70" y="44"/>
                    <a:pt x="102" y="44"/>
                  </a:cubicBezTo>
                  <a:cubicBezTo>
                    <a:pt x="134" y="44"/>
                    <a:pt x="160" y="70"/>
                    <a:pt x="160" y="102"/>
                  </a:cubicBezTo>
                  <a:cubicBezTo>
                    <a:pt x="160" y="133"/>
                    <a:pt x="134" y="160"/>
                    <a:pt x="102" y="160"/>
                  </a:cubicBezTo>
                  <a:close/>
                  <a:moveTo>
                    <a:pt x="198" y="89"/>
                  </a:moveTo>
                  <a:cubicBezTo>
                    <a:pt x="178" y="89"/>
                    <a:pt x="178" y="89"/>
                    <a:pt x="178" y="89"/>
                  </a:cubicBezTo>
                  <a:cubicBezTo>
                    <a:pt x="176" y="78"/>
                    <a:pt x="171" y="67"/>
                    <a:pt x="165" y="58"/>
                  </a:cubicBezTo>
                  <a:cubicBezTo>
                    <a:pt x="179" y="43"/>
                    <a:pt x="179" y="43"/>
                    <a:pt x="179" y="43"/>
                  </a:cubicBezTo>
                  <a:cubicBezTo>
                    <a:pt x="181" y="41"/>
                    <a:pt x="181" y="37"/>
                    <a:pt x="179" y="34"/>
                  </a:cubicBezTo>
                  <a:cubicBezTo>
                    <a:pt x="170" y="25"/>
                    <a:pt x="170" y="25"/>
                    <a:pt x="170" y="25"/>
                  </a:cubicBezTo>
                  <a:cubicBezTo>
                    <a:pt x="167" y="23"/>
                    <a:pt x="163" y="23"/>
                    <a:pt x="161" y="25"/>
                  </a:cubicBez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4" y="179"/>
                    <a:pt x="34" y="179"/>
                    <a:pt x="34" y="179"/>
                  </a:cubicBezTo>
                  <a:cubicBezTo>
                    <a:pt x="37" y="181"/>
                    <a:pt x="41" y="181"/>
                    <a:pt x="43" y="179"/>
                  </a:cubicBezTo>
                  <a:cubicBezTo>
                    <a:pt x="58" y="165"/>
                    <a:pt x="58" y="165"/>
                    <a:pt x="58" y="165"/>
                  </a:cubicBezTo>
                  <a:cubicBezTo>
                    <a:pt x="67" y="171"/>
                    <a:pt x="78" y="176"/>
                    <a:pt x="89" y="178"/>
                  </a:cubicBezTo>
                  <a:cubicBezTo>
                    <a:pt x="89" y="198"/>
                    <a:pt x="89" y="198"/>
                    <a:pt x="89" y="198"/>
                  </a:cubicBezTo>
                  <a:cubicBezTo>
                    <a:pt x="89" y="202"/>
                    <a:pt x="92" y="204"/>
                    <a:pt x="96" y="204"/>
                  </a:cubicBezTo>
                  <a:cubicBezTo>
                    <a:pt x="108" y="204"/>
                    <a:pt x="108" y="204"/>
                    <a:pt x="108" y="204"/>
                  </a:cubicBezTo>
                  <a:cubicBezTo>
                    <a:pt x="112" y="204"/>
                    <a:pt x="115" y="202"/>
                    <a:pt x="115" y="198"/>
                  </a:cubicBezTo>
                  <a:cubicBezTo>
                    <a:pt x="115" y="178"/>
                    <a:pt x="115" y="178"/>
                    <a:pt x="115" y="178"/>
                  </a:cubicBezTo>
                  <a:cubicBezTo>
                    <a:pt x="126" y="176"/>
                    <a:pt x="137" y="171"/>
                    <a:pt x="146" y="165"/>
                  </a:cubicBezTo>
                  <a:cubicBezTo>
                    <a:pt x="161" y="179"/>
                    <a:pt x="161" y="179"/>
                    <a:pt x="161" y="179"/>
                  </a:cubicBezTo>
                  <a:cubicBezTo>
                    <a:pt x="163" y="181"/>
                    <a:pt x="167" y="181"/>
                    <a:pt x="170" y="179"/>
                  </a:cubicBezTo>
                  <a:cubicBezTo>
                    <a:pt x="179" y="170"/>
                    <a:pt x="179" y="170"/>
                    <a:pt x="179" y="170"/>
                  </a:cubicBezTo>
                  <a:cubicBezTo>
                    <a:pt x="181" y="167"/>
                    <a:pt x="181" y="163"/>
                    <a:pt x="179" y="161"/>
                  </a:cubicBezTo>
                  <a:cubicBezTo>
                    <a:pt x="165" y="146"/>
                    <a:pt x="165" y="146"/>
                    <a:pt x="165" y="146"/>
                  </a:cubicBezTo>
                  <a:cubicBezTo>
                    <a:pt x="171" y="137"/>
                    <a:pt x="176" y="126"/>
                    <a:pt x="178" y="115"/>
                  </a:cubicBezTo>
                  <a:cubicBezTo>
                    <a:pt x="198" y="115"/>
                    <a:pt x="198" y="115"/>
                    <a:pt x="198" y="115"/>
                  </a:cubicBezTo>
                  <a:cubicBezTo>
                    <a:pt x="202" y="115"/>
                    <a:pt x="204" y="112"/>
                    <a:pt x="204" y="108"/>
                  </a:cubicBezTo>
                  <a:cubicBezTo>
                    <a:pt x="204" y="96"/>
                    <a:pt x="204" y="96"/>
                    <a:pt x="204" y="96"/>
                  </a:cubicBezTo>
                  <a:cubicBezTo>
                    <a:pt x="204" y="92"/>
                    <a:pt x="202" y="89"/>
                    <a:pt x="198" y="89"/>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18">
              <a:extLst>
                <a:ext uri="{FF2B5EF4-FFF2-40B4-BE49-F238E27FC236}">
                  <a16:creationId xmlns:a16="http://schemas.microsoft.com/office/drawing/2014/main" id="{A94E8B9D-79C2-64FC-8E9A-4FEA9B2E8407}"/>
                </a:ext>
              </a:extLst>
            </p:cNvPr>
            <p:cNvSpPr>
              <a:spLocks/>
            </p:cNvSpPr>
            <p:nvPr/>
          </p:nvSpPr>
          <p:spPr bwMode="auto">
            <a:xfrm>
              <a:off x="8624888" y="2216150"/>
              <a:ext cx="658812" cy="658813"/>
            </a:xfrm>
            <a:custGeom>
              <a:avLst/>
              <a:gdLst>
                <a:gd name="T0" fmla="*/ 161 w 174"/>
                <a:gd name="T1" fmla="*/ 25 h 174"/>
                <a:gd name="T2" fmla="*/ 146 w 174"/>
                <a:gd name="T3" fmla="*/ 39 h 174"/>
                <a:gd name="T4" fmla="*/ 115 w 174"/>
                <a:gd name="T5" fmla="*/ 26 h 174"/>
                <a:gd name="T6" fmla="*/ 115 w 174"/>
                <a:gd name="T7" fmla="*/ 6 h 174"/>
                <a:gd name="T8" fmla="*/ 108 w 174"/>
                <a:gd name="T9" fmla="*/ 0 h 174"/>
                <a:gd name="T10" fmla="*/ 96 w 174"/>
                <a:gd name="T11" fmla="*/ 0 h 174"/>
                <a:gd name="T12" fmla="*/ 89 w 174"/>
                <a:gd name="T13" fmla="*/ 6 h 174"/>
                <a:gd name="T14" fmla="*/ 89 w 174"/>
                <a:gd name="T15" fmla="*/ 26 h 174"/>
                <a:gd name="T16" fmla="*/ 58 w 174"/>
                <a:gd name="T17" fmla="*/ 39 h 174"/>
                <a:gd name="T18" fmla="*/ 43 w 174"/>
                <a:gd name="T19" fmla="*/ 25 h 174"/>
                <a:gd name="T20" fmla="*/ 34 w 174"/>
                <a:gd name="T21" fmla="*/ 25 h 174"/>
                <a:gd name="T22" fmla="*/ 25 w 174"/>
                <a:gd name="T23" fmla="*/ 34 h 174"/>
                <a:gd name="T24" fmla="*/ 25 w 174"/>
                <a:gd name="T25" fmla="*/ 43 h 174"/>
                <a:gd name="T26" fmla="*/ 39 w 174"/>
                <a:gd name="T27" fmla="*/ 58 h 174"/>
                <a:gd name="T28" fmla="*/ 26 w 174"/>
                <a:gd name="T29" fmla="*/ 89 h 174"/>
                <a:gd name="T30" fmla="*/ 6 w 174"/>
                <a:gd name="T31" fmla="*/ 89 h 174"/>
                <a:gd name="T32" fmla="*/ 0 w 174"/>
                <a:gd name="T33" fmla="*/ 96 h 174"/>
                <a:gd name="T34" fmla="*/ 0 w 174"/>
                <a:gd name="T35" fmla="*/ 108 h 174"/>
                <a:gd name="T36" fmla="*/ 6 w 174"/>
                <a:gd name="T37" fmla="*/ 115 h 174"/>
                <a:gd name="T38" fmla="*/ 26 w 174"/>
                <a:gd name="T39" fmla="*/ 115 h 174"/>
                <a:gd name="T40" fmla="*/ 39 w 174"/>
                <a:gd name="T41" fmla="*/ 146 h 174"/>
                <a:gd name="T42" fmla="*/ 25 w 174"/>
                <a:gd name="T43" fmla="*/ 161 h 174"/>
                <a:gd name="T44" fmla="*/ 25 w 174"/>
                <a:gd name="T45" fmla="*/ 170 h 174"/>
                <a:gd name="T46" fmla="*/ 30 w 174"/>
                <a:gd name="T47" fmla="*/ 174 h 174"/>
                <a:gd name="T48" fmla="*/ 61 w 174"/>
                <a:gd name="T49" fmla="*/ 143 h 174"/>
                <a:gd name="T50" fmla="*/ 44 w 174"/>
                <a:gd name="T51" fmla="*/ 102 h 174"/>
                <a:gd name="T52" fmla="*/ 102 w 174"/>
                <a:gd name="T53" fmla="*/ 44 h 174"/>
                <a:gd name="T54" fmla="*/ 143 w 174"/>
                <a:gd name="T55" fmla="*/ 61 h 174"/>
                <a:gd name="T56" fmla="*/ 174 w 174"/>
                <a:gd name="T57" fmla="*/ 29 h 174"/>
                <a:gd name="T58" fmla="*/ 170 w 174"/>
                <a:gd name="T59" fmla="*/ 25 h 174"/>
                <a:gd name="T60" fmla="*/ 161 w 174"/>
                <a:gd name="T61"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4">
                  <a:moveTo>
                    <a:pt x="161" y="25"/>
                  </a:move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0" y="174"/>
                    <a:pt x="30" y="174"/>
                    <a:pt x="30" y="174"/>
                  </a:cubicBezTo>
                  <a:cubicBezTo>
                    <a:pt x="61" y="143"/>
                    <a:pt x="61" y="143"/>
                    <a:pt x="61" y="143"/>
                  </a:cubicBezTo>
                  <a:cubicBezTo>
                    <a:pt x="51" y="132"/>
                    <a:pt x="44" y="118"/>
                    <a:pt x="44" y="102"/>
                  </a:cubicBezTo>
                  <a:cubicBezTo>
                    <a:pt x="44" y="71"/>
                    <a:pt x="70" y="44"/>
                    <a:pt x="102" y="44"/>
                  </a:cubicBezTo>
                  <a:cubicBezTo>
                    <a:pt x="118" y="44"/>
                    <a:pt x="132" y="51"/>
                    <a:pt x="143" y="61"/>
                  </a:cubicBezTo>
                  <a:cubicBezTo>
                    <a:pt x="174" y="29"/>
                    <a:pt x="174" y="29"/>
                    <a:pt x="174" y="29"/>
                  </a:cubicBezTo>
                  <a:cubicBezTo>
                    <a:pt x="170" y="25"/>
                    <a:pt x="170" y="25"/>
                    <a:pt x="170" y="25"/>
                  </a:cubicBezTo>
                  <a:cubicBezTo>
                    <a:pt x="167" y="23"/>
                    <a:pt x="163" y="23"/>
                    <a:pt x="16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19">
              <a:extLst>
                <a:ext uri="{FF2B5EF4-FFF2-40B4-BE49-F238E27FC236}">
                  <a16:creationId xmlns:a16="http://schemas.microsoft.com/office/drawing/2014/main" id="{38E1647E-AACB-271B-3DCD-0369A0E1A2F9}"/>
                </a:ext>
              </a:extLst>
            </p:cNvPr>
            <p:cNvSpPr>
              <a:spLocks noEditPoints="1"/>
            </p:cNvSpPr>
            <p:nvPr/>
          </p:nvSpPr>
          <p:spPr bwMode="auto">
            <a:xfrm>
              <a:off x="8791575" y="2382838"/>
              <a:ext cx="439737" cy="439738"/>
            </a:xfrm>
            <a:custGeom>
              <a:avLst/>
              <a:gdLst>
                <a:gd name="T0" fmla="*/ 58 w 116"/>
                <a:gd name="T1" fmla="*/ 96 h 116"/>
                <a:gd name="T2" fmla="*/ 20 w 116"/>
                <a:gd name="T3" fmla="*/ 58 h 116"/>
                <a:gd name="T4" fmla="*/ 58 w 116"/>
                <a:gd name="T5" fmla="*/ 20 h 116"/>
                <a:gd name="T6" fmla="*/ 96 w 116"/>
                <a:gd name="T7" fmla="*/ 58 h 116"/>
                <a:gd name="T8" fmla="*/ 58 w 116"/>
                <a:gd name="T9" fmla="*/ 96 h 116"/>
                <a:gd name="T10" fmla="*/ 58 w 116"/>
                <a:gd name="T11" fmla="*/ 0 h 116"/>
                <a:gd name="T12" fmla="*/ 0 w 116"/>
                <a:gd name="T13" fmla="*/ 58 h 116"/>
                <a:gd name="T14" fmla="*/ 58 w 116"/>
                <a:gd name="T15" fmla="*/ 116 h 116"/>
                <a:gd name="T16" fmla="*/ 116 w 116"/>
                <a:gd name="T17" fmla="*/ 58 h 116"/>
                <a:gd name="T18" fmla="*/ 58 w 116"/>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96"/>
                  </a:moveTo>
                  <a:cubicBezTo>
                    <a:pt x="37" y="96"/>
                    <a:pt x="20" y="79"/>
                    <a:pt x="20" y="58"/>
                  </a:cubicBezTo>
                  <a:cubicBezTo>
                    <a:pt x="20" y="37"/>
                    <a:pt x="37" y="20"/>
                    <a:pt x="58" y="20"/>
                  </a:cubicBezTo>
                  <a:cubicBezTo>
                    <a:pt x="79" y="20"/>
                    <a:pt x="96" y="37"/>
                    <a:pt x="96" y="58"/>
                  </a:cubicBezTo>
                  <a:cubicBezTo>
                    <a:pt x="96" y="79"/>
                    <a:pt x="79" y="96"/>
                    <a:pt x="58" y="96"/>
                  </a:cubicBezTo>
                  <a:close/>
                  <a:moveTo>
                    <a:pt x="58" y="0"/>
                  </a:moveTo>
                  <a:cubicBezTo>
                    <a:pt x="26" y="0"/>
                    <a:pt x="0" y="26"/>
                    <a:pt x="0" y="58"/>
                  </a:cubicBezTo>
                  <a:cubicBezTo>
                    <a:pt x="0" y="90"/>
                    <a:pt x="26" y="116"/>
                    <a:pt x="58" y="116"/>
                  </a:cubicBezTo>
                  <a:cubicBezTo>
                    <a:pt x="90" y="116"/>
                    <a:pt x="116" y="90"/>
                    <a:pt x="116" y="58"/>
                  </a:cubicBezTo>
                  <a:cubicBezTo>
                    <a:pt x="116" y="26"/>
                    <a:pt x="90" y="0"/>
                    <a:pt x="58" y="0"/>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20">
              <a:extLst>
                <a:ext uri="{FF2B5EF4-FFF2-40B4-BE49-F238E27FC236}">
                  <a16:creationId xmlns:a16="http://schemas.microsoft.com/office/drawing/2014/main" id="{5064E272-EADB-30CE-D28F-33C4627A9408}"/>
                </a:ext>
              </a:extLst>
            </p:cNvPr>
            <p:cNvSpPr>
              <a:spLocks/>
            </p:cNvSpPr>
            <p:nvPr/>
          </p:nvSpPr>
          <p:spPr bwMode="auto">
            <a:xfrm>
              <a:off x="8791575" y="2382838"/>
              <a:ext cx="374650" cy="374650"/>
            </a:xfrm>
            <a:custGeom>
              <a:avLst/>
              <a:gdLst>
                <a:gd name="T0" fmla="*/ 58 w 99"/>
                <a:gd name="T1" fmla="*/ 0 h 99"/>
                <a:gd name="T2" fmla="*/ 0 w 99"/>
                <a:gd name="T3" fmla="*/ 58 h 99"/>
                <a:gd name="T4" fmla="*/ 17 w 99"/>
                <a:gd name="T5" fmla="*/ 99 h 99"/>
                <a:gd name="T6" fmla="*/ 31 w 99"/>
                <a:gd name="T7" fmla="*/ 85 h 99"/>
                <a:gd name="T8" fmla="*/ 20 w 99"/>
                <a:gd name="T9" fmla="*/ 58 h 99"/>
                <a:gd name="T10" fmla="*/ 58 w 99"/>
                <a:gd name="T11" fmla="*/ 20 h 99"/>
                <a:gd name="T12" fmla="*/ 85 w 99"/>
                <a:gd name="T13" fmla="*/ 31 h 99"/>
                <a:gd name="T14" fmla="*/ 99 w 99"/>
                <a:gd name="T15" fmla="*/ 17 h 99"/>
                <a:gd name="T16" fmla="*/ 58 w 99"/>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99">
                  <a:moveTo>
                    <a:pt x="58" y="0"/>
                  </a:moveTo>
                  <a:cubicBezTo>
                    <a:pt x="26" y="0"/>
                    <a:pt x="0" y="26"/>
                    <a:pt x="0" y="58"/>
                  </a:cubicBezTo>
                  <a:cubicBezTo>
                    <a:pt x="0" y="74"/>
                    <a:pt x="7" y="88"/>
                    <a:pt x="17" y="99"/>
                  </a:cubicBezTo>
                  <a:cubicBezTo>
                    <a:pt x="31" y="85"/>
                    <a:pt x="31" y="85"/>
                    <a:pt x="31" y="85"/>
                  </a:cubicBezTo>
                  <a:cubicBezTo>
                    <a:pt x="24" y="78"/>
                    <a:pt x="20" y="69"/>
                    <a:pt x="20" y="58"/>
                  </a:cubicBezTo>
                  <a:cubicBezTo>
                    <a:pt x="20" y="37"/>
                    <a:pt x="37" y="20"/>
                    <a:pt x="58" y="20"/>
                  </a:cubicBezTo>
                  <a:cubicBezTo>
                    <a:pt x="69" y="20"/>
                    <a:pt x="78" y="24"/>
                    <a:pt x="85" y="31"/>
                  </a:cubicBezTo>
                  <a:cubicBezTo>
                    <a:pt x="99" y="17"/>
                    <a:pt x="99" y="17"/>
                    <a:pt x="99" y="17"/>
                  </a:cubicBezTo>
                  <a:cubicBezTo>
                    <a:pt x="88" y="7"/>
                    <a:pt x="74" y="0"/>
                    <a:pt x="5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21">
              <a:extLst>
                <a:ext uri="{FF2B5EF4-FFF2-40B4-BE49-F238E27FC236}">
                  <a16:creationId xmlns:a16="http://schemas.microsoft.com/office/drawing/2014/main" id="{CBC0B2BA-95E1-F639-AC90-396D6F7E84FD}"/>
                </a:ext>
              </a:extLst>
            </p:cNvPr>
            <p:cNvSpPr>
              <a:spLocks noEditPoints="1"/>
            </p:cNvSpPr>
            <p:nvPr/>
          </p:nvSpPr>
          <p:spPr bwMode="auto">
            <a:xfrm>
              <a:off x="8867775" y="2459038"/>
              <a:ext cx="287337" cy="287338"/>
            </a:xfrm>
            <a:custGeom>
              <a:avLst/>
              <a:gdLst>
                <a:gd name="T0" fmla="*/ 38 w 76"/>
                <a:gd name="T1" fmla="*/ 64 h 76"/>
                <a:gd name="T2" fmla="*/ 12 w 76"/>
                <a:gd name="T3" fmla="*/ 38 h 76"/>
                <a:gd name="T4" fmla="*/ 38 w 76"/>
                <a:gd name="T5" fmla="*/ 12 h 76"/>
                <a:gd name="T6" fmla="*/ 64 w 76"/>
                <a:gd name="T7" fmla="*/ 38 h 76"/>
                <a:gd name="T8" fmla="*/ 38 w 76"/>
                <a:gd name="T9" fmla="*/ 64 h 76"/>
                <a:gd name="T10" fmla="*/ 38 w 76"/>
                <a:gd name="T11" fmla="*/ 0 h 76"/>
                <a:gd name="T12" fmla="*/ 0 w 76"/>
                <a:gd name="T13" fmla="*/ 38 h 76"/>
                <a:gd name="T14" fmla="*/ 38 w 76"/>
                <a:gd name="T15" fmla="*/ 76 h 76"/>
                <a:gd name="T16" fmla="*/ 76 w 76"/>
                <a:gd name="T17" fmla="*/ 38 h 76"/>
                <a:gd name="T18" fmla="*/ 38 w 76"/>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64"/>
                  </a:moveTo>
                  <a:cubicBezTo>
                    <a:pt x="24" y="64"/>
                    <a:pt x="12" y="52"/>
                    <a:pt x="12" y="38"/>
                  </a:cubicBezTo>
                  <a:cubicBezTo>
                    <a:pt x="12" y="24"/>
                    <a:pt x="24" y="12"/>
                    <a:pt x="38" y="12"/>
                  </a:cubicBezTo>
                  <a:cubicBezTo>
                    <a:pt x="52" y="12"/>
                    <a:pt x="64" y="24"/>
                    <a:pt x="64" y="38"/>
                  </a:cubicBezTo>
                  <a:cubicBezTo>
                    <a:pt x="64" y="52"/>
                    <a:pt x="52" y="64"/>
                    <a:pt x="38" y="64"/>
                  </a:cubicBezTo>
                  <a:close/>
                  <a:moveTo>
                    <a:pt x="38" y="0"/>
                  </a:moveTo>
                  <a:cubicBezTo>
                    <a:pt x="17" y="0"/>
                    <a:pt x="0" y="17"/>
                    <a:pt x="0" y="38"/>
                  </a:cubicBezTo>
                  <a:cubicBezTo>
                    <a:pt x="0" y="59"/>
                    <a:pt x="17" y="76"/>
                    <a:pt x="38" y="76"/>
                  </a:cubicBezTo>
                  <a:cubicBezTo>
                    <a:pt x="59" y="76"/>
                    <a:pt x="76" y="59"/>
                    <a:pt x="76" y="38"/>
                  </a:cubicBezTo>
                  <a:cubicBezTo>
                    <a:pt x="76" y="17"/>
                    <a:pt x="59" y="0"/>
                    <a:pt x="3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22">
              <a:extLst>
                <a:ext uri="{FF2B5EF4-FFF2-40B4-BE49-F238E27FC236}">
                  <a16:creationId xmlns:a16="http://schemas.microsoft.com/office/drawing/2014/main" id="{C1D84BFF-63FE-4E20-41E4-EE686B97D623}"/>
                </a:ext>
              </a:extLst>
            </p:cNvPr>
            <p:cNvSpPr>
              <a:spLocks/>
            </p:cNvSpPr>
            <p:nvPr/>
          </p:nvSpPr>
          <p:spPr bwMode="auto">
            <a:xfrm>
              <a:off x="8867775" y="2459038"/>
              <a:ext cx="246062" cy="246063"/>
            </a:xfrm>
            <a:custGeom>
              <a:avLst/>
              <a:gdLst>
                <a:gd name="T0" fmla="*/ 38 w 65"/>
                <a:gd name="T1" fmla="*/ 0 h 65"/>
                <a:gd name="T2" fmla="*/ 0 w 65"/>
                <a:gd name="T3" fmla="*/ 38 h 65"/>
                <a:gd name="T4" fmla="*/ 11 w 65"/>
                <a:gd name="T5" fmla="*/ 65 h 65"/>
                <a:gd name="T6" fmla="*/ 20 w 65"/>
                <a:gd name="T7" fmla="*/ 56 h 65"/>
                <a:gd name="T8" fmla="*/ 12 w 65"/>
                <a:gd name="T9" fmla="*/ 38 h 65"/>
                <a:gd name="T10" fmla="*/ 38 w 65"/>
                <a:gd name="T11" fmla="*/ 12 h 65"/>
                <a:gd name="T12" fmla="*/ 56 w 65"/>
                <a:gd name="T13" fmla="*/ 20 h 65"/>
                <a:gd name="T14" fmla="*/ 65 w 65"/>
                <a:gd name="T15" fmla="*/ 11 h 65"/>
                <a:gd name="T16" fmla="*/ 38 w 65"/>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38" y="0"/>
                  </a:moveTo>
                  <a:cubicBezTo>
                    <a:pt x="17" y="0"/>
                    <a:pt x="0" y="17"/>
                    <a:pt x="0" y="38"/>
                  </a:cubicBezTo>
                  <a:cubicBezTo>
                    <a:pt x="0" y="49"/>
                    <a:pt x="4" y="58"/>
                    <a:pt x="11" y="65"/>
                  </a:cubicBezTo>
                  <a:cubicBezTo>
                    <a:pt x="20" y="56"/>
                    <a:pt x="20" y="56"/>
                    <a:pt x="20" y="56"/>
                  </a:cubicBezTo>
                  <a:cubicBezTo>
                    <a:pt x="15" y="51"/>
                    <a:pt x="12" y="45"/>
                    <a:pt x="12" y="38"/>
                  </a:cubicBezTo>
                  <a:cubicBezTo>
                    <a:pt x="12" y="24"/>
                    <a:pt x="24" y="12"/>
                    <a:pt x="38" y="12"/>
                  </a:cubicBezTo>
                  <a:cubicBezTo>
                    <a:pt x="45" y="12"/>
                    <a:pt x="51" y="15"/>
                    <a:pt x="56" y="20"/>
                  </a:cubicBezTo>
                  <a:cubicBezTo>
                    <a:pt x="65" y="11"/>
                    <a:pt x="65" y="11"/>
                    <a:pt x="65" y="11"/>
                  </a:cubicBezTo>
                  <a:cubicBezTo>
                    <a:pt x="58" y="4"/>
                    <a:pt x="49"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6" name="Title 1">
            <a:extLst>
              <a:ext uri="{FF2B5EF4-FFF2-40B4-BE49-F238E27FC236}">
                <a16:creationId xmlns:a16="http://schemas.microsoft.com/office/drawing/2014/main" id="{A011103B-DA44-C20E-32BE-15DFB2B11ACD}"/>
              </a:ext>
            </a:extLst>
          </p:cNvPr>
          <p:cNvSpPr txBox="1">
            <a:spLocks/>
          </p:cNvSpPr>
          <p:nvPr/>
        </p:nvSpPr>
        <p:spPr>
          <a:xfrm>
            <a:off x="6244370" y="3814717"/>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secure connections, such as HTTPS or SFTP, to transfer data between systems and services also use secure storage.</a:t>
            </a:r>
          </a:p>
        </p:txBody>
      </p:sp>
      <p:sp>
        <p:nvSpPr>
          <p:cNvPr id="87" name="Title 1">
            <a:extLst>
              <a:ext uri="{FF2B5EF4-FFF2-40B4-BE49-F238E27FC236}">
                <a16:creationId xmlns:a16="http://schemas.microsoft.com/office/drawing/2014/main" id="{BAAA84D6-FF9D-A5A0-DAA4-430B86DE674D}"/>
              </a:ext>
            </a:extLst>
          </p:cNvPr>
          <p:cNvSpPr txBox="1">
            <a:spLocks/>
          </p:cNvSpPr>
          <p:nvPr/>
        </p:nvSpPr>
        <p:spPr>
          <a:xfrm>
            <a:off x="8116457" y="3827196"/>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uthentication to secure access to the Logic App's endpoint and to the systems and services that the Logic App integrates with.</a:t>
            </a:r>
          </a:p>
        </p:txBody>
      </p:sp>
      <p:sp>
        <p:nvSpPr>
          <p:cNvPr id="88" name="Title 1">
            <a:extLst>
              <a:ext uri="{FF2B5EF4-FFF2-40B4-BE49-F238E27FC236}">
                <a16:creationId xmlns:a16="http://schemas.microsoft.com/office/drawing/2014/main" id="{4C421FC2-9775-7015-9310-1F1FA956C347}"/>
              </a:ext>
            </a:extLst>
          </p:cNvPr>
          <p:cNvSpPr txBox="1">
            <a:spLocks/>
          </p:cNvSpPr>
          <p:nvPr/>
        </p:nvSpPr>
        <p:spPr>
          <a:xfrm>
            <a:off x="10002234" y="3814717"/>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authorization to control access to the Logic App's endpoint and to the systems and services that the Logic App integrates with.</a:t>
            </a:r>
          </a:p>
        </p:txBody>
      </p:sp>
      <p:sp>
        <p:nvSpPr>
          <p:cNvPr id="89" name="Freeform 46">
            <a:extLst>
              <a:ext uri="{FF2B5EF4-FFF2-40B4-BE49-F238E27FC236}">
                <a16:creationId xmlns:a16="http://schemas.microsoft.com/office/drawing/2014/main" id="{7F0FC324-7D49-6328-8D62-128F9173FD83}"/>
              </a:ext>
            </a:extLst>
          </p:cNvPr>
          <p:cNvSpPr/>
          <p:nvPr/>
        </p:nvSpPr>
        <p:spPr>
          <a:xfrm>
            <a:off x="6438460"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0" name="Freeform 46">
            <a:extLst>
              <a:ext uri="{FF2B5EF4-FFF2-40B4-BE49-F238E27FC236}">
                <a16:creationId xmlns:a16="http://schemas.microsoft.com/office/drawing/2014/main" id="{B800B8F7-8796-D280-70F9-82ACBAC055DF}"/>
              </a:ext>
            </a:extLst>
          </p:cNvPr>
          <p:cNvSpPr/>
          <p:nvPr/>
        </p:nvSpPr>
        <p:spPr>
          <a:xfrm>
            <a:off x="8324237"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1" name="Freeform 46">
            <a:extLst>
              <a:ext uri="{FF2B5EF4-FFF2-40B4-BE49-F238E27FC236}">
                <a16:creationId xmlns:a16="http://schemas.microsoft.com/office/drawing/2014/main" id="{A6BCA051-DD89-B2D8-3B84-E67DA0D22EE8}"/>
              </a:ext>
            </a:extLst>
          </p:cNvPr>
          <p:cNvSpPr/>
          <p:nvPr/>
        </p:nvSpPr>
        <p:spPr>
          <a:xfrm>
            <a:off x="10210014"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3" name="任意多边形: 形状 16">
            <a:extLst>
              <a:ext uri="{FF2B5EF4-FFF2-40B4-BE49-F238E27FC236}">
                <a16:creationId xmlns:a16="http://schemas.microsoft.com/office/drawing/2014/main" id="{4130C318-82F6-65CD-D026-28E33AABF93D}"/>
              </a:ext>
            </a:extLst>
          </p:cNvPr>
          <p:cNvSpPr/>
          <p:nvPr/>
        </p:nvSpPr>
        <p:spPr>
          <a:xfrm>
            <a:off x="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任意多边形: 形状 16">
            <a:extLst>
              <a:ext uri="{FF2B5EF4-FFF2-40B4-BE49-F238E27FC236}">
                <a16:creationId xmlns:a16="http://schemas.microsoft.com/office/drawing/2014/main" id="{669656EF-1E4A-1D44-9497-E354A1C1A0F3}"/>
              </a:ext>
            </a:extLst>
          </p:cNvPr>
          <p:cNvSpPr/>
          <p:nvPr/>
        </p:nvSpPr>
        <p:spPr>
          <a:xfrm>
            <a:off x="27241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任意多边形: 形状 16">
            <a:extLst>
              <a:ext uri="{FF2B5EF4-FFF2-40B4-BE49-F238E27FC236}">
                <a16:creationId xmlns:a16="http://schemas.microsoft.com/office/drawing/2014/main" id="{2D1ADF0F-AC94-9711-E9E6-47A09B60DC6A}"/>
              </a:ext>
            </a:extLst>
          </p:cNvPr>
          <p:cNvSpPr/>
          <p:nvPr/>
        </p:nvSpPr>
        <p:spPr>
          <a:xfrm>
            <a:off x="54673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任意多边形: 形状 16">
            <a:extLst>
              <a:ext uri="{FF2B5EF4-FFF2-40B4-BE49-F238E27FC236}">
                <a16:creationId xmlns:a16="http://schemas.microsoft.com/office/drawing/2014/main" id="{074ED558-3A58-B5E8-ED31-FC493C2FC506}"/>
              </a:ext>
            </a:extLst>
          </p:cNvPr>
          <p:cNvSpPr/>
          <p:nvPr/>
        </p:nvSpPr>
        <p:spPr>
          <a:xfrm>
            <a:off x="81724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Freeform: Shape 98">
            <a:extLst>
              <a:ext uri="{FF2B5EF4-FFF2-40B4-BE49-F238E27FC236}">
                <a16:creationId xmlns:a16="http://schemas.microsoft.com/office/drawing/2014/main" id="{C0D1DE64-8005-9053-774F-565601F17CF3}"/>
              </a:ext>
            </a:extLst>
          </p:cNvPr>
          <p:cNvSpPr/>
          <p:nvPr/>
        </p:nvSpPr>
        <p:spPr>
          <a:xfrm>
            <a:off x="10915650" y="6462914"/>
            <a:ext cx="1276350" cy="464457"/>
          </a:xfrm>
          <a:custGeom>
            <a:avLst/>
            <a:gdLst>
              <a:gd name="connsiteX0" fmla="*/ 97047 w 1276350"/>
              <a:gd name="connsiteY0" fmla="*/ 0 h 464457"/>
              <a:gd name="connsiteX1" fmla="*/ 358828 w 1276350"/>
              <a:gd name="connsiteY1" fmla="*/ 0 h 464457"/>
              <a:gd name="connsiteX2" fmla="*/ 358828 w 1276350"/>
              <a:gd name="connsiteY2" fmla="*/ 111250 h 464457"/>
              <a:gd name="connsiteX3" fmla="*/ 554462 w 1276350"/>
              <a:gd name="connsiteY3" fmla="*/ 111250 h 464457"/>
              <a:gd name="connsiteX4" fmla="*/ 554462 w 1276350"/>
              <a:gd name="connsiteY4" fmla="*/ 0 h 464457"/>
              <a:gd name="connsiteX5" fmla="*/ 816244 w 1276350"/>
              <a:gd name="connsiteY5" fmla="*/ 0 h 464457"/>
              <a:gd name="connsiteX6" fmla="*/ 816244 w 1276350"/>
              <a:gd name="connsiteY6" fmla="*/ 111250 h 464457"/>
              <a:gd name="connsiteX7" fmla="*/ 1011878 w 1276350"/>
              <a:gd name="connsiteY7" fmla="*/ 111250 h 464457"/>
              <a:gd name="connsiteX8" fmla="*/ 1011878 w 1276350"/>
              <a:gd name="connsiteY8" fmla="*/ 0 h 464457"/>
              <a:gd name="connsiteX9" fmla="*/ 1273659 w 1276350"/>
              <a:gd name="connsiteY9" fmla="*/ 0 h 464457"/>
              <a:gd name="connsiteX10" fmla="*/ 1273659 w 1276350"/>
              <a:gd name="connsiteY10" fmla="*/ 111250 h 464457"/>
              <a:gd name="connsiteX11" fmla="*/ 1276350 w 1276350"/>
              <a:gd name="connsiteY11" fmla="*/ 111250 h 464457"/>
              <a:gd name="connsiteX12" fmla="*/ 1276350 w 1276350"/>
              <a:gd name="connsiteY12" fmla="*/ 464457 h 464457"/>
              <a:gd name="connsiteX13" fmla="*/ 0 w 1276350"/>
              <a:gd name="connsiteY13" fmla="*/ 464457 h 464457"/>
              <a:gd name="connsiteX14" fmla="*/ 0 w 1276350"/>
              <a:gd name="connsiteY14" fmla="*/ 111250 h 464457"/>
              <a:gd name="connsiteX15" fmla="*/ 97047 w 1276350"/>
              <a:gd name="connsiteY15"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6350" h="464457">
                <a:moveTo>
                  <a:pt x="97047" y="0"/>
                </a:moveTo>
                <a:lnTo>
                  <a:pt x="358828" y="0"/>
                </a:lnTo>
                <a:lnTo>
                  <a:pt x="358828" y="111250"/>
                </a:lnTo>
                <a:lnTo>
                  <a:pt x="554462" y="111250"/>
                </a:lnTo>
                <a:lnTo>
                  <a:pt x="554462" y="0"/>
                </a:lnTo>
                <a:lnTo>
                  <a:pt x="816244" y="0"/>
                </a:lnTo>
                <a:lnTo>
                  <a:pt x="816244" y="111250"/>
                </a:lnTo>
                <a:lnTo>
                  <a:pt x="1011878" y="111250"/>
                </a:lnTo>
                <a:lnTo>
                  <a:pt x="1011878" y="0"/>
                </a:lnTo>
                <a:lnTo>
                  <a:pt x="1273659" y="0"/>
                </a:lnTo>
                <a:lnTo>
                  <a:pt x="1273659" y="111250"/>
                </a:lnTo>
                <a:lnTo>
                  <a:pt x="1276350" y="111250"/>
                </a:lnTo>
                <a:lnTo>
                  <a:pt x="1276350" y="464457"/>
                </a:lnTo>
                <a:lnTo>
                  <a:pt x="0" y="464457"/>
                </a:lnTo>
                <a:lnTo>
                  <a:pt x="0" y="111250"/>
                </a:lnTo>
                <a:lnTo>
                  <a:pt x="97047" y="111250"/>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0" name="Rectangle 99">
            <a:extLst>
              <a:ext uri="{FF2B5EF4-FFF2-40B4-BE49-F238E27FC236}">
                <a16:creationId xmlns:a16="http://schemas.microsoft.com/office/drawing/2014/main" id="{CC906072-9427-03B8-DA68-7DA3B70647B1}"/>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62148C66-DD92-0DDD-33CA-0EB2D2969685}"/>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toy building set with a blue figure&#10;&#10;Description automatically generated with medium confidence">
            <a:extLst>
              <a:ext uri="{FF2B5EF4-FFF2-40B4-BE49-F238E27FC236}">
                <a16:creationId xmlns:a16="http://schemas.microsoft.com/office/drawing/2014/main" id="{F9DDFFA4-95C7-2351-F26B-472DA529001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958" y="600944"/>
            <a:ext cx="5608503" cy="5317739"/>
          </a:xfrm>
          <a:prstGeom prst="rect">
            <a:avLst/>
          </a:prstGeom>
        </p:spPr>
      </p:pic>
      <p:sp>
        <p:nvSpPr>
          <p:cNvPr id="102" name="Slide Number Placeholder 5">
            <a:extLst>
              <a:ext uri="{FF2B5EF4-FFF2-40B4-BE49-F238E27FC236}">
                <a16:creationId xmlns:a16="http://schemas.microsoft.com/office/drawing/2014/main" id="{890B2771-CA60-3F3F-3BD2-5D31E7DAC781}"/>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42</a:t>
            </a:fld>
            <a:endParaRPr lang="en-US"/>
          </a:p>
        </p:txBody>
      </p:sp>
      <p:sp>
        <p:nvSpPr>
          <p:cNvPr id="7" name="Oval 6">
            <a:extLst>
              <a:ext uri="{FF2B5EF4-FFF2-40B4-BE49-F238E27FC236}">
                <a16:creationId xmlns:a16="http://schemas.microsoft.com/office/drawing/2014/main" id="{72A2C85E-795E-963E-0E65-4E8EB459FA5F}"/>
              </a:ext>
            </a:extLst>
          </p:cNvPr>
          <p:cNvSpPr/>
          <p:nvPr/>
        </p:nvSpPr>
        <p:spPr>
          <a:xfrm>
            <a:off x="3988196" y="4752553"/>
            <a:ext cx="1068670" cy="1068670"/>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C847494A-A2AA-87B4-9B8B-3536CBF16251}"/>
              </a:ext>
            </a:extLst>
          </p:cNvPr>
          <p:cNvGrpSpPr/>
          <p:nvPr/>
        </p:nvGrpSpPr>
        <p:grpSpPr>
          <a:xfrm>
            <a:off x="4256556" y="4997059"/>
            <a:ext cx="531950" cy="579659"/>
            <a:chOff x="9742488" y="639763"/>
            <a:chExt cx="708025" cy="771526"/>
          </a:xfrm>
          <a:effectLst>
            <a:outerShdw dist="38100" dir="2700000" algn="tl" rotWithShape="0">
              <a:prstClr val="black">
                <a:alpha val="20000"/>
              </a:prstClr>
            </a:outerShdw>
          </a:effectLst>
        </p:grpSpPr>
        <p:sp>
          <p:nvSpPr>
            <p:cNvPr id="15" name="Freeform 59">
              <a:extLst>
                <a:ext uri="{FF2B5EF4-FFF2-40B4-BE49-F238E27FC236}">
                  <a16:creationId xmlns:a16="http://schemas.microsoft.com/office/drawing/2014/main" id="{42C397F0-C0A6-40F8-BB6A-EBB9556135C0}"/>
                </a:ext>
              </a:extLst>
            </p:cNvPr>
            <p:cNvSpPr>
              <a:spLocks/>
            </p:cNvSpPr>
            <p:nvPr/>
          </p:nvSpPr>
          <p:spPr bwMode="auto">
            <a:xfrm>
              <a:off x="10174288" y="1123951"/>
              <a:ext cx="276225" cy="287338"/>
            </a:xfrm>
            <a:custGeom>
              <a:avLst/>
              <a:gdLst>
                <a:gd name="T0" fmla="*/ 72 w 73"/>
                <a:gd name="T1" fmla="*/ 41 h 76"/>
                <a:gd name="T2" fmla="*/ 44 w 73"/>
                <a:gd name="T3" fmla="*/ 0 h 76"/>
                <a:gd name="T4" fmla="*/ 42 w 73"/>
                <a:gd name="T5" fmla="*/ 2 h 76"/>
                <a:gd name="T6" fmla="*/ 42 w 73"/>
                <a:gd name="T7" fmla="*/ 23 h 76"/>
                <a:gd name="T8" fmla="*/ 21 w 73"/>
                <a:gd name="T9" fmla="*/ 23 h 76"/>
                <a:gd name="T10" fmla="*/ 13 w 73"/>
                <a:gd name="T11" fmla="*/ 42 h 76"/>
                <a:gd name="T12" fmla="*/ 0 w 73"/>
                <a:gd name="T13" fmla="*/ 36 h 76"/>
                <a:gd name="T14" fmla="*/ 25 w 73"/>
                <a:gd name="T15" fmla="*/ 73 h 76"/>
                <a:gd name="T16" fmla="*/ 30 w 73"/>
                <a:gd name="T17" fmla="*/ 75 h 76"/>
                <a:gd name="T18" fmla="*/ 35 w 73"/>
                <a:gd name="T19" fmla="*/ 71 h 76"/>
                <a:gd name="T20" fmla="*/ 41 w 73"/>
                <a:gd name="T21" fmla="*/ 52 h 76"/>
                <a:gd name="T22" fmla="*/ 47 w 73"/>
                <a:gd name="T23" fmla="*/ 48 h 76"/>
                <a:gd name="T24" fmla="*/ 67 w 73"/>
                <a:gd name="T25" fmla="*/ 50 h 76"/>
                <a:gd name="T26" fmla="*/ 72 w 73"/>
                <a:gd name="T27" fmla="*/ 47 h 76"/>
                <a:gd name="T28" fmla="*/ 72 w 73"/>
                <a:gd name="T29"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72" y="41"/>
                  </a:moveTo>
                  <a:cubicBezTo>
                    <a:pt x="44" y="0"/>
                    <a:pt x="44" y="0"/>
                    <a:pt x="44" y="0"/>
                  </a:cubicBezTo>
                  <a:cubicBezTo>
                    <a:pt x="43" y="1"/>
                    <a:pt x="43" y="1"/>
                    <a:pt x="42" y="2"/>
                  </a:cubicBezTo>
                  <a:cubicBezTo>
                    <a:pt x="39" y="7"/>
                    <a:pt x="46" y="19"/>
                    <a:pt x="42" y="23"/>
                  </a:cubicBezTo>
                  <a:cubicBezTo>
                    <a:pt x="38" y="27"/>
                    <a:pt x="26" y="20"/>
                    <a:pt x="21" y="23"/>
                  </a:cubicBezTo>
                  <a:cubicBezTo>
                    <a:pt x="17" y="26"/>
                    <a:pt x="18" y="40"/>
                    <a:pt x="13" y="42"/>
                  </a:cubicBezTo>
                  <a:cubicBezTo>
                    <a:pt x="10" y="43"/>
                    <a:pt x="5" y="39"/>
                    <a:pt x="0" y="36"/>
                  </a:cubicBezTo>
                  <a:cubicBezTo>
                    <a:pt x="25" y="73"/>
                    <a:pt x="25" y="73"/>
                    <a:pt x="25" y="73"/>
                  </a:cubicBezTo>
                  <a:cubicBezTo>
                    <a:pt x="26" y="75"/>
                    <a:pt x="28" y="76"/>
                    <a:pt x="30" y="75"/>
                  </a:cubicBezTo>
                  <a:cubicBezTo>
                    <a:pt x="32" y="75"/>
                    <a:pt x="34" y="73"/>
                    <a:pt x="35" y="71"/>
                  </a:cubicBezTo>
                  <a:cubicBezTo>
                    <a:pt x="41" y="52"/>
                    <a:pt x="41" y="52"/>
                    <a:pt x="41" y="52"/>
                  </a:cubicBezTo>
                  <a:cubicBezTo>
                    <a:pt x="42" y="50"/>
                    <a:pt x="44" y="48"/>
                    <a:pt x="47" y="48"/>
                  </a:cubicBezTo>
                  <a:cubicBezTo>
                    <a:pt x="67" y="50"/>
                    <a:pt x="67" y="50"/>
                    <a:pt x="67" y="50"/>
                  </a:cubicBezTo>
                  <a:cubicBezTo>
                    <a:pt x="69" y="50"/>
                    <a:pt x="71" y="49"/>
                    <a:pt x="72" y="47"/>
                  </a:cubicBezTo>
                  <a:cubicBezTo>
                    <a:pt x="73" y="45"/>
                    <a:pt x="73" y="43"/>
                    <a:pt x="72" y="4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60">
              <a:extLst>
                <a:ext uri="{FF2B5EF4-FFF2-40B4-BE49-F238E27FC236}">
                  <a16:creationId xmlns:a16="http://schemas.microsoft.com/office/drawing/2014/main" id="{3320E71B-BB3B-6013-ABC0-765214805D54}"/>
                </a:ext>
              </a:extLst>
            </p:cNvPr>
            <p:cNvSpPr>
              <a:spLocks/>
            </p:cNvSpPr>
            <p:nvPr/>
          </p:nvSpPr>
          <p:spPr bwMode="auto">
            <a:xfrm>
              <a:off x="9742488" y="1123951"/>
              <a:ext cx="276225" cy="287338"/>
            </a:xfrm>
            <a:custGeom>
              <a:avLst/>
              <a:gdLst>
                <a:gd name="T0" fmla="*/ 60 w 73"/>
                <a:gd name="T1" fmla="*/ 42 h 76"/>
                <a:gd name="T2" fmla="*/ 52 w 73"/>
                <a:gd name="T3" fmla="*/ 23 h 76"/>
                <a:gd name="T4" fmla="*/ 31 w 73"/>
                <a:gd name="T5" fmla="*/ 23 h 76"/>
                <a:gd name="T6" fmla="*/ 31 w 73"/>
                <a:gd name="T7" fmla="*/ 2 h 76"/>
                <a:gd name="T8" fmla="*/ 28 w 73"/>
                <a:gd name="T9" fmla="*/ 0 h 76"/>
                <a:gd name="T10" fmla="*/ 1 w 73"/>
                <a:gd name="T11" fmla="*/ 41 h 76"/>
                <a:gd name="T12" fmla="*/ 1 w 73"/>
                <a:gd name="T13" fmla="*/ 47 h 76"/>
                <a:gd name="T14" fmla="*/ 6 w 73"/>
                <a:gd name="T15" fmla="*/ 50 h 76"/>
                <a:gd name="T16" fmla="*/ 26 w 73"/>
                <a:gd name="T17" fmla="*/ 48 h 76"/>
                <a:gd name="T18" fmla="*/ 32 w 73"/>
                <a:gd name="T19" fmla="*/ 52 h 76"/>
                <a:gd name="T20" fmla="*/ 38 w 73"/>
                <a:gd name="T21" fmla="*/ 71 h 76"/>
                <a:gd name="T22" fmla="*/ 43 w 73"/>
                <a:gd name="T23" fmla="*/ 75 h 76"/>
                <a:gd name="T24" fmla="*/ 48 w 73"/>
                <a:gd name="T25" fmla="*/ 73 h 76"/>
                <a:gd name="T26" fmla="*/ 73 w 73"/>
                <a:gd name="T27" fmla="*/ 36 h 76"/>
                <a:gd name="T28" fmla="*/ 60 w 73"/>
                <a:gd name="T29"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60" y="42"/>
                  </a:moveTo>
                  <a:cubicBezTo>
                    <a:pt x="55" y="40"/>
                    <a:pt x="56" y="26"/>
                    <a:pt x="52" y="23"/>
                  </a:cubicBezTo>
                  <a:cubicBezTo>
                    <a:pt x="47" y="20"/>
                    <a:pt x="35" y="27"/>
                    <a:pt x="31" y="23"/>
                  </a:cubicBezTo>
                  <a:cubicBezTo>
                    <a:pt x="27" y="19"/>
                    <a:pt x="34" y="7"/>
                    <a:pt x="31" y="2"/>
                  </a:cubicBezTo>
                  <a:cubicBezTo>
                    <a:pt x="30" y="2"/>
                    <a:pt x="29" y="1"/>
                    <a:pt x="28" y="0"/>
                  </a:cubicBezTo>
                  <a:cubicBezTo>
                    <a:pt x="1" y="41"/>
                    <a:pt x="1" y="41"/>
                    <a:pt x="1" y="41"/>
                  </a:cubicBezTo>
                  <a:cubicBezTo>
                    <a:pt x="0" y="43"/>
                    <a:pt x="0" y="45"/>
                    <a:pt x="1" y="47"/>
                  </a:cubicBezTo>
                  <a:cubicBezTo>
                    <a:pt x="2" y="49"/>
                    <a:pt x="4" y="50"/>
                    <a:pt x="6" y="50"/>
                  </a:cubicBezTo>
                  <a:cubicBezTo>
                    <a:pt x="26" y="48"/>
                    <a:pt x="26" y="48"/>
                    <a:pt x="26" y="48"/>
                  </a:cubicBezTo>
                  <a:cubicBezTo>
                    <a:pt x="29" y="48"/>
                    <a:pt x="31" y="50"/>
                    <a:pt x="32" y="52"/>
                  </a:cubicBezTo>
                  <a:cubicBezTo>
                    <a:pt x="38" y="71"/>
                    <a:pt x="38" y="71"/>
                    <a:pt x="38" y="71"/>
                  </a:cubicBezTo>
                  <a:cubicBezTo>
                    <a:pt x="39" y="73"/>
                    <a:pt x="41" y="75"/>
                    <a:pt x="43" y="75"/>
                  </a:cubicBezTo>
                  <a:cubicBezTo>
                    <a:pt x="45" y="76"/>
                    <a:pt x="47" y="75"/>
                    <a:pt x="48" y="73"/>
                  </a:cubicBezTo>
                  <a:cubicBezTo>
                    <a:pt x="73" y="36"/>
                    <a:pt x="73" y="36"/>
                    <a:pt x="73" y="36"/>
                  </a:cubicBezTo>
                  <a:cubicBezTo>
                    <a:pt x="68" y="39"/>
                    <a:pt x="63" y="44"/>
                    <a:pt x="60" y="42"/>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61">
              <a:extLst>
                <a:ext uri="{FF2B5EF4-FFF2-40B4-BE49-F238E27FC236}">
                  <a16:creationId xmlns:a16="http://schemas.microsoft.com/office/drawing/2014/main" id="{C859CEBF-7710-FB02-79FE-C7A378967905}"/>
                </a:ext>
              </a:extLst>
            </p:cNvPr>
            <p:cNvSpPr>
              <a:spLocks/>
            </p:cNvSpPr>
            <p:nvPr/>
          </p:nvSpPr>
          <p:spPr bwMode="auto">
            <a:xfrm>
              <a:off x="9761538" y="639763"/>
              <a:ext cx="669925" cy="669925"/>
            </a:xfrm>
            <a:custGeom>
              <a:avLst/>
              <a:gdLst>
                <a:gd name="T0" fmla="*/ 177 w 177"/>
                <a:gd name="T1" fmla="*/ 88 h 177"/>
                <a:gd name="T2" fmla="*/ 162 w 177"/>
                <a:gd name="T3" fmla="*/ 103 h 177"/>
                <a:gd name="T4" fmla="*/ 170 w 177"/>
                <a:gd name="T5" fmla="*/ 122 h 177"/>
                <a:gd name="T6" fmla="*/ 151 w 177"/>
                <a:gd name="T7" fmla="*/ 130 h 177"/>
                <a:gd name="T8" fmla="*/ 151 w 177"/>
                <a:gd name="T9" fmla="*/ 151 h 177"/>
                <a:gd name="T10" fmla="*/ 130 w 177"/>
                <a:gd name="T11" fmla="*/ 151 h 177"/>
                <a:gd name="T12" fmla="*/ 122 w 177"/>
                <a:gd name="T13" fmla="*/ 170 h 177"/>
                <a:gd name="T14" fmla="*/ 103 w 177"/>
                <a:gd name="T15" fmla="*/ 162 h 177"/>
                <a:gd name="T16" fmla="*/ 88 w 177"/>
                <a:gd name="T17" fmla="*/ 177 h 177"/>
                <a:gd name="T18" fmla="*/ 74 w 177"/>
                <a:gd name="T19" fmla="*/ 162 h 177"/>
                <a:gd name="T20" fmla="*/ 55 w 177"/>
                <a:gd name="T21" fmla="*/ 170 h 177"/>
                <a:gd name="T22" fmla="*/ 47 w 177"/>
                <a:gd name="T23" fmla="*/ 151 h 177"/>
                <a:gd name="T24" fmla="*/ 26 w 177"/>
                <a:gd name="T25" fmla="*/ 151 h 177"/>
                <a:gd name="T26" fmla="*/ 26 w 177"/>
                <a:gd name="T27" fmla="*/ 130 h 177"/>
                <a:gd name="T28" fmla="*/ 7 w 177"/>
                <a:gd name="T29" fmla="*/ 122 h 177"/>
                <a:gd name="T30" fmla="*/ 15 w 177"/>
                <a:gd name="T31" fmla="*/ 103 h 177"/>
                <a:gd name="T32" fmla="*/ 0 w 177"/>
                <a:gd name="T33" fmla="*/ 88 h 177"/>
                <a:gd name="T34" fmla="*/ 15 w 177"/>
                <a:gd name="T35" fmla="*/ 74 h 177"/>
                <a:gd name="T36" fmla="*/ 7 w 177"/>
                <a:gd name="T37" fmla="*/ 55 h 177"/>
                <a:gd name="T38" fmla="*/ 26 w 177"/>
                <a:gd name="T39" fmla="*/ 47 h 177"/>
                <a:gd name="T40" fmla="*/ 26 w 177"/>
                <a:gd name="T41" fmla="*/ 26 h 177"/>
                <a:gd name="T42" fmla="*/ 47 w 177"/>
                <a:gd name="T43" fmla="*/ 26 h 177"/>
                <a:gd name="T44" fmla="*/ 55 w 177"/>
                <a:gd name="T45" fmla="*/ 7 h 177"/>
                <a:gd name="T46" fmla="*/ 74 w 177"/>
                <a:gd name="T47" fmla="*/ 15 h 177"/>
                <a:gd name="T48" fmla="*/ 88 w 177"/>
                <a:gd name="T49" fmla="*/ 0 h 177"/>
                <a:gd name="T50" fmla="*/ 103 w 177"/>
                <a:gd name="T51" fmla="*/ 15 h 177"/>
                <a:gd name="T52" fmla="*/ 122 w 177"/>
                <a:gd name="T53" fmla="*/ 7 h 177"/>
                <a:gd name="T54" fmla="*/ 130 w 177"/>
                <a:gd name="T55" fmla="*/ 26 h 177"/>
                <a:gd name="T56" fmla="*/ 151 w 177"/>
                <a:gd name="T57" fmla="*/ 26 h 177"/>
                <a:gd name="T58" fmla="*/ 151 w 177"/>
                <a:gd name="T59" fmla="*/ 47 h 177"/>
                <a:gd name="T60" fmla="*/ 170 w 177"/>
                <a:gd name="T61" fmla="*/ 55 h 177"/>
                <a:gd name="T62" fmla="*/ 162 w 177"/>
                <a:gd name="T63" fmla="*/ 74 h 177"/>
                <a:gd name="T64" fmla="*/ 177 w 177"/>
                <a:gd name="T65" fmla="*/ 8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177">
                  <a:moveTo>
                    <a:pt x="177" y="88"/>
                  </a:moveTo>
                  <a:cubicBezTo>
                    <a:pt x="177" y="94"/>
                    <a:pt x="163" y="98"/>
                    <a:pt x="162" y="103"/>
                  </a:cubicBezTo>
                  <a:cubicBezTo>
                    <a:pt x="161" y="108"/>
                    <a:pt x="172" y="117"/>
                    <a:pt x="170" y="122"/>
                  </a:cubicBezTo>
                  <a:cubicBezTo>
                    <a:pt x="168" y="127"/>
                    <a:pt x="154" y="126"/>
                    <a:pt x="151" y="130"/>
                  </a:cubicBezTo>
                  <a:cubicBezTo>
                    <a:pt x="148" y="135"/>
                    <a:pt x="155" y="147"/>
                    <a:pt x="151" y="151"/>
                  </a:cubicBezTo>
                  <a:cubicBezTo>
                    <a:pt x="147" y="155"/>
                    <a:pt x="135" y="148"/>
                    <a:pt x="130" y="151"/>
                  </a:cubicBezTo>
                  <a:cubicBezTo>
                    <a:pt x="126" y="154"/>
                    <a:pt x="127" y="168"/>
                    <a:pt x="122" y="170"/>
                  </a:cubicBezTo>
                  <a:cubicBezTo>
                    <a:pt x="117" y="172"/>
                    <a:pt x="108" y="161"/>
                    <a:pt x="103" y="162"/>
                  </a:cubicBezTo>
                  <a:cubicBezTo>
                    <a:pt x="98" y="163"/>
                    <a:pt x="94" y="177"/>
                    <a:pt x="88" y="177"/>
                  </a:cubicBezTo>
                  <a:cubicBezTo>
                    <a:pt x="83" y="177"/>
                    <a:pt x="79" y="163"/>
                    <a:pt x="74" y="162"/>
                  </a:cubicBezTo>
                  <a:cubicBezTo>
                    <a:pt x="68" y="161"/>
                    <a:pt x="60" y="172"/>
                    <a:pt x="55" y="170"/>
                  </a:cubicBezTo>
                  <a:cubicBezTo>
                    <a:pt x="50" y="168"/>
                    <a:pt x="51" y="154"/>
                    <a:pt x="47" y="151"/>
                  </a:cubicBezTo>
                  <a:cubicBezTo>
                    <a:pt x="42" y="148"/>
                    <a:pt x="30" y="155"/>
                    <a:pt x="26" y="151"/>
                  </a:cubicBezTo>
                  <a:cubicBezTo>
                    <a:pt x="22" y="147"/>
                    <a:pt x="29" y="135"/>
                    <a:pt x="26" y="130"/>
                  </a:cubicBezTo>
                  <a:cubicBezTo>
                    <a:pt x="23" y="126"/>
                    <a:pt x="9" y="127"/>
                    <a:pt x="7" y="122"/>
                  </a:cubicBezTo>
                  <a:cubicBezTo>
                    <a:pt x="5" y="117"/>
                    <a:pt x="16" y="108"/>
                    <a:pt x="15" y="103"/>
                  </a:cubicBezTo>
                  <a:cubicBezTo>
                    <a:pt x="14" y="98"/>
                    <a:pt x="0" y="94"/>
                    <a:pt x="0" y="88"/>
                  </a:cubicBezTo>
                  <a:cubicBezTo>
                    <a:pt x="0" y="83"/>
                    <a:pt x="14" y="79"/>
                    <a:pt x="15" y="74"/>
                  </a:cubicBezTo>
                  <a:cubicBezTo>
                    <a:pt x="16" y="68"/>
                    <a:pt x="5" y="60"/>
                    <a:pt x="7" y="55"/>
                  </a:cubicBezTo>
                  <a:cubicBezTo>
                    <a:pt x="9" y="50"/>
                    <a:pt x="23" y="51"/>
                    <a:pt x="26" y="47"/>
                  </a:cubicBezTo>
                  <a:cubicBezTo>
                    <a:pt x="29" y="42"/>
                    <a:pt x="22" y="30"/>
                    <a:pt x="26" y="26"/>
                  </a:cubicBezTo>
                  <a:cubicBezTo>
                    <a:pt x="30" y="22"/>
                    <a:pt x="42" y="29"/>
                    <a:pt x="47" y="26"/>
                  </a:cubicBezTo>
                  <a:cubicBezTo>
                    <a:pt x="51" y="23"/>
                    <a:pt x="50" y="9"/>
                    <a:pt x="55" y="7"/>
                  </a:cubicBezTo>
                  <a:cubicBezTo>
                    <a:pt x="60" y="5"/>
                    <a:pt x="68" y="16"/>
                    <a:pt x="74" y="15"/>
                  </a:cubicBezTo>
                  <a:cubicBezTo>
                    <a:pt x="79" y="14"/>
                    <a:pt x="83" y="0"/>
                    <a:pt x="88" y="0"/>
                  </a:cubicBezTo>
                  <a:cubicBezTo>
                    <a:pt x="94" y="0"/>
                    <a:pt x="98" y="14"/>
                    <a:pt x="103" y="15"/>
                  </a:cubicBezTo>
                  <a:cubicBezTo>
                    <a:pt x="108" y="16"/>
                    <a:pt x="117" y="5"/>
                    <a:pt x="122" y="7"/>
                  </a:cubicBezTo>
                  <a:cubicBezTo>
                    <a:pt x="127" y="9"/>
                    <a:pt x="126" y="23"/>
                    <a:pt x="130" y="26"/>
                  </a:cubicBezTo>
                  <a:cubicBezTo>
                    <a:pt x="135" y="29"/>
                    <a:pt x="147" y="22"/>
                    <a:pt x="151" y="26"/>
                  </a:cubicBezTo>
                  <a:cubicBezTo>
                    <a:pt x="155" y="30"/>
                    <a:pt x="148" y="42"/>
                    <a:pt x="151" y="47"/>
                  </a:cubicBezTo>
                  <a:cubicBezTo>
                    <a:pt x="154" y="51"/>
                    <a:pt x="168" y="50"/>
                    <a:pt x="170" y="55"/>
                  </a:cubicBezTo>
                  <a:cubicBezTo>
                    <a:pt x="172" y="60"/>
                    <a:pt x="161" y="68"/>
                    <a:pt x="162" y="74"/>
                  </a:cubicBezTo>
                  <a:cubicBezTo>
                    <a:pt x="163" y="79"/>
                    <a:pt x="177" y="83"/>
                    <a:pt x="177" y="88"/>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62">
              <a:extLst>
                <a:ext uri="{FF2B5EF4-FFF2-40B4-BE49-F238E27FC236}">
                  <a16:creationId xmlns:a16="http://schemas.microsoft.com/office/drawing/2014/main" id="{5A7BB79B-30DD-7DAE-A3DC-864F6179C0F5}"/>
                </a:ext>
              </a:extLst>
            </p:cNvPr>
            <p:cNvSpPr>
              <a:spLocks/>
            </p:cNvSpPr>
            <p:nvPr/>
          </p:nvSpPr>
          <p:spPr bwMode="auto">
            <a:xfrm>
              <a:off x="9761538" y="639763"/>
              <a:ext cx="571500" cy="571500"/>
            </a:xfrm>
            <a:custGeom>
              <a:avLst/>
              <a:gdLst>
                <a:gd name="T0" fmla="*/ 151 w 151"/>
                <a:gd name="T1" fmla="*/ 26 h 151"/>
                <a:gd name="T2" fmla="*/ 130 w 151"/>
                <a:gd name="T3" fmla="*/ 26 h 151"/>
                <a:gd name="T4" fmla="*/ 122 w 151"/>
                <a:gd name="T5" fmla="*/ 7 h 151"/>
                <a:gd name="T6" fmla="*/ 103 w 151"/>
                <a:gd name="T7" fmla="*/ 15 h 151"/>
                <a:gd name="T8" fmla="*/ 88 w 151"/>
                <a:gd name="T9" fmla="*/ 0 h 151"/>
                <a:gd name="T10" fmla="*/ 74 w 151"/>
                <a:gd name="T11" fmla="*/ 15 h 151"/>
                <a:gd name="T12" fmla="*/ 55 w 151"/>
                <a:gd name="T13" fmla="*/ 7 h 151"/>
                <a:gd name="T14" fmla="*/ 47 w 151"/>
                <a:gd name="T15" fmla="*/ 26 h 151"/>
                <a:gd name="T16" fmla="*/ 26 w 151"/>
                <a:gd name="T17" fmla="*/ 26 h 151"/>
                <a:gd name="T18" fmla="*/ 26 w 151"/>
                <a:gd name="T19" fmla="*/ 47 h 151"/>
                <a:gd name="T20" fmla="*/ 7 w 151"/>
                <a:gd name="T21" fmla="*/ 55 h 151"/>
                <a:gd name="T22" fmla="*/ 15 w 151"/>
                <a:gd name="T23" fmla="*/ 74 h 151"/>
                <a:gd name="T24" fmla="*/ 0 w 151"/>
                <a:gd name="T25" fmla="*/ 88 h 151"/>
                <a:gd name="T26" fmla="*/ 15 w 151"/>
                <a:gd name="T27" fmla="*/ 103 h 151"/>
                <a:gd name="T28" fmla="*/ 7 w 151"/>
                <a:gd name="T29" fmla="*/ 122 h 151"/>
                <a:gd name="T30" fmla="*/ 26 w 151"/>
                <a:gd name="T31" fmla="*/ 130 h 151"/>
                <a:gd name="T32" fmla="*/ 26 w 151"/>
                <a:gd name="T33" fmla="*/ 151 h 151"/>
                <a:gd name="T34" fmla="*/ 26 w 151"/>
                <a:gd name="T35" fmla="*/ 151 h 151"/>
                <a:gd name="T36" fmla="*/ 151 w 151"/>
                <a:gd name="T37" fmla="*/ 26 h 151"/>
                <a:gd name="T38" fmla="*/ 151 w 151"/>
                <a:gd name="T3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151">
                  <a:moveTo>
                    <a:pt x="151" y="26"/>
                  </a:moveTo>
                  <a:cubicBezTo>
                    <a:pt x="147" y="22"/>
                    <a:pt x="135" y="29"/>
                    <a:pt x="130" y="26"/>
                  </a:cubicBezTo>
                  <a:cubicBezTo>
                    <a:pt x="126" y="23"/>
                    <a:pt x="127" y="9"/>
                    <a:pt x="122" y="7"/>
                  </a:cubicBezTo>
                  <a:cubicBezTo>
                    <a:pt x="117" y="5"/>
                    <a:pt x="108" y="16"/>
                    <a:pt x="103" y="15"/>
                  </a:cubicBezTo>
                  <a:cubicBezTo>
                    <a:pt x="98" y="14"/>
                    <a:pt x="94" y="0"/>
                    <a:pt x="88" y="0"/>
                  </a:cubicBezTo>
                  <a:cubicBezTo>
                    <a:pt x="83" y="0"/>
                    <a:pt x="79" y="14"/>
                    <a:pt x="74" y="15"/>
                  </a:cubicBezTo>
                  <a:cubicBezTo>
                    <a:pt x="68" y="16"/>
                    <a:pt x="60" y="5"/>
                    <a:pt x="55" y="7"/>
                  </a:cubicBezTo>
                  <a:cubicBezTo>
                    <a:pt x="50" y="9"/>
                    <a:pt x="51" y="23"/>
                    <a:pt x="47" y="26"/>
                  </a:cubicBezTo>
                  <a:cubicBezTo>
                    <a:pt x="42" y="29"/>
                    <a:pt x="30" y="22"/>
                    <a:pt x="26" y="26"/>
                  </a:cubicBezTo>
                  <a:cubicBezTo>
                    <a:pt x="22" y="30"/>
                    <a:pt x="29" y="42"/>
                    <a:pt x="26" y="47"/>
                  </a:cubicBezTo>
                  <a:cubicBezTo>
                    <a:pt x="23" y="51"/>
                    <a:pt x="9" y="50"/>
                    <a:pt x="7" y="55"/>
                  </a:cubicBezTo>
                  <a:cubicBezTo>
                    <a:pt x="5" y="60"/>
                    <a:pt x="16" y="68"/>
                    <a:pt x="15" y="74"/>
                  </a:cubicBezTo>
                  <a:cubicBezTo>
                    <a:pt x="14" y="79"/>
                    <a:pt x="0" y="83"/>
                    <a:pt x="0" y="88"/>
                  </a:cubicBezTo>
                  <a:cubicBezTo>
                    <a:pt x="0" y="94"/>
                    <a:pt x="14" y="98"/>
                    <a:pt x="15" y="103"/>
                  </a:cubicBezTo>
                  <a:cubicBezTo>
                    <a:pt x="16" y="108"/>
                    <a:pt x="5" y="117"/>
                    <a:pt x="7" y="122"/>
                  </a:cubicBezTo>
                  <a:cubicBezTo>
                    <a:pt x="9" y="127"/>
                    <a:pt x="23" y="126"/>
                    <a:pt x="26" y="130"/>
                  </a:cubicBezTo>
                  <a:cubicBezTo>
                    <a:pt x="29" y="135"/>
                    <a:pt x="22" y="147"/>
                    <a:pt x="26" y="151"/>
                  </a:cubicBezTo>
                  <a:cubicBezTo>
                    <a:pt x="26" y="151"/>
                    <a:pt x="26" y="151"/>
                    <a:pt x="26" y="151"/>
                  </a:cubicBezTo>
                  <a:cubicBezTo>
                    <a:pt x="151" y="26"/>
                    <a:pt x="151" y="26"/>
                    <a:pt x="151" y="26"/>
                  </a:cubicBezTo>
                  <a:cubicBezTo>
                    <a:pt x="151" y="26"/>
                    <a:pt x="151" y="26"/>
                    <a:pt x="151" y="26"/>
                  </a:cubicBez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Oval 63">
              <a:extLst>
                <a:ext uri="{FF2B5EF4-FFF2-40B4-BE49-F238E27FC236}">
                  <a16:creationId xmlns:a16="http://schemas.microsoft.com/office/drawing/2014/main" id="{F5611ECC-A83D-4F37-4506-DAC3D3D3F080}"/>
                </a:ext>
              </a:extLst>
            </p:cNvPr>
            <p:cNvSpPr>
              <a:spLocks noChangeArrowheads="1"/>
            </p:cNvSpPr>
            <p:nvPr/>
          </p:nvSpPr>
          <p:spPr bwMode="auto">
            <a:xfrm>
              <a:off x="9871075" y="749301"/>
              <a:ext cx="450850" cy="450850"/>
            </a:xfrm>
            <a:prstGeom prst="ellipse">
              <a:avLst/>
            </a:pr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Freeform 64">
              <a:extLst>
                <a:ext uri="{FF2B5EF4-FFF2-40B4-BE49-F238E27FC236}">
                  <a16:creationId xmlns:a16="http://schemas.microsoft.com/office/drawing/2014/main" id="{A3A4343E-9896-2EAB-18AD-C3C1DD565C51}"/>
                </a:ext>
              </a:extLst>
            </p:cNvPr>
            <p:cNvSpPr>
              <a:spLocks/>
            </p:cNvSpPr>
            <p:nvPr/>
          </p:nvSpPr>
          <p:spPr bwMode="auto">
            <a:xfrm>
              <a:off x="9871075" y="749301"/>
              <a:ext cx="382588" cy="385763"/>
            </a:xfrm>
            <a:custGeom>
              <a:avLst/>
              <a:gdLst>
                <a:gd name="T0" fmla="*/ 59 w 101"/>
                <a:gd name="T1" fmla="*/ 0 h 102"/>
                <a:gd name="T2" fmla="*/ 0 w 101"/>
                <a:gd name="T3" fmla="*/ 59 h 102"/>
                <a:gd name="T4" fmla="*/ 17 w 101"/>
                <a:gd name="T5" fmla="*/ 102 h 102"/>
                <a:gd name="T6" fmla="*/ 101 w 101"/>
                <a:gd name="T7" fmla="*/ 17 h 102"/>
                <a:gd name="T8" fmla="*/ 59 w 101"/>
                <a:gd name="T9" fmla="*/ 0 h 102"/>
              </a:gdLst>
              <a:ahLst/>
              <a:cxnLst>
                <a:cxn ang="0">
                  <a:pos x="T0" y="T1"/>
                </a:cxn>
                <a:cxn ang="0">
                  <a:pos x="T2" y="T3"/>
                </a:cxn>
                <a:cxn ang="0">
                  <a:pos x="T4" y="T5"/>
                </a:cxn>
                <a:cxn ang="0">
                  <a:pos x="T6" y="T7"/>
                </a:cxn>
                <a:cxn ang="0">
                  <a:pos x="T8" y="T9"/>
                </a:cxn>
              </a:cxnLst>
              <a:rect l="0" t="0" r="r" b="b"/>
              <a:pathLst>
                <a:path w="101" h="102">
                  <a:moveTo>
                    <a:pt x="59" y="0"/>
                  </a:moveTo>
                  <a:cubicBezTo>
                    <a:pt x="26" y="0"/>
                    <a:pt x="0" y="27"/>
                    <a:pt x="0" y="59"/>
                  </a:cubicBezTo>
                  <a:cubicBezTo>
                    <a:pt x="0" y="76"/>
                    <a:pt x="6" y="91"/>
                    <a:pt x="17" y="102"/>
                  </a:cubicBezTo>
                  <a:cubicBezTo>
                    <a:pt x="101" y="17"/>
                    <a:pt x="101" y="17"/>
                    <a:pt x="101" y="17"/>
                  </a:cubicBezTo>
                  <a:cubicBezTo>
                    <a:pt x="91" y="6"/>
                    <a:pt x="76" y="0"/>
                    <a:pt x="59" y="0"/>
                  </a:cubicBez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Oval 65">
              <a:extLst>
                <a:ext uri="{FF2B5EF4-FFF2-40B4-BE49-F238E27FC236}">
                  <a16:creationId xmlns:a16="http://schemas.microsoft.com/office/drawing/2014/main" id="{7BB81976-CCE6-CBEB-568C-5221DF766A82}"/>
                </a:ext>
              </a:extLst>
            </p:cNvPr>
            <p:cNvSpPr>
              <a:spLocks noChangeArrowheads="1"/>
            </p:cNvSpPr>
            <p:nvPr/>
          </p:nvSpPr>
          <p:spPr bwMode="auto">
            <a:xfrm>
              <a:off x="9947275" y="828676"/>
              <a:ext cx="295275" cy="292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2" name="Picture 1" descr="A red and blue text on a black background&#10;&#10;Description automatically generated">
            <a:extLst>
              <a:ext uri="{FF2B5EF4-FFF2-40B4-BE49-F238E27FC236}">
                <a16:creationId xmlns:a16="http://schemas.microsoft.com/office/drawing/2014/main" id="{1BC1491A-510E-513D-4771-1A7D98492721}"/>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a:stretch/>
        </p:blipFill>
        <p:spPr>
          <a:xfrm>
            <a:off x="102834" y="5816619"/>
            <a:ext cx="1760162" cy="658164"/>
          </a:xfrm>
          <a:prstGeom prst="rect">
            <a:avLst/>
          </a:prstGeom>
        </p:spPr>
      </p:pic>
      <p:sp>
        <p:nvSpPr>
          <p:cNvPr id="8" name="Title 1">
            <a:extLst>
              <a:ext uri="{FF2B5EF4-FFF2-40B4-BE49-F238E27FC236}">
                <a16:creationId xmlns:a16="http://schemas.microsoft.com/office/drawing/2014/main" id="{1F1FC82E-CE3D-19CD-76BD-A355A1063B41}"/>
              </a:ext>
            </a:extLst>
          </p:cNvPr>
          <p:cNvSpPr txBox="1">
            <a:spLocks/>
          </p:cNvSpPr>
          <p:nvPr/>
        </p:nvSpPr>
        <p:spPr>
          <a:xfrm>
            <a:off x="6034248" y="3299563"/>
            <a:ext cx="1868455"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Secure Connections</a:t>
            </a:r>
          </a:p>
        </p:txBody>
      </p:sp>
      <p:sp>
        <p:nvSpPr>
          <p:cNvPr id="9" name="Title 1">
            <a:extLst>
              <a:ext uri="{FF2B5EF4-FFF2-40B4-BE49-F238E27FC236}">
                <a16:creationId xmlns:a16="http://schemas.microsoft.com/office/drawing/2014/main" id="{309097E5-A77D-96D4-F85B-4830906465C8}"/>
              </a:ext>
            </a:extLst>
          </p:cNvPr>
          <p:cNvSpPr txBox="1">
            <a:spLocks/>
          </p:cNvSpPr>
          <p:nvPr/>
        </p:nvSpPr>
        <p:spPr>
          <a:xfrm>
            <a:off x="8226190" y="3289475"/>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uthentication</a:t>
            </a:r>
          </a:p>
        </p:txBody>
      </p:sp>
      <p:sp>
        <p:nvSpPr>
          <p:cNvPr id="11" name="Title 1">
            <a:extLst>
              <a:ext uri="{FF2B5EF4-FFF2-40B4-BE49-F238E27FC236}">
                <a16:creationId xmlns:a16="http://schemas.microsoft.com/office/drawing/2014/main" id="{6276F72D-F0DE-E853-9477-66B44E737456}"/>
              </a:ext>
            </a:extLst>
          </p:cNvPr>
          <p:cNvSpPr txBox="1">
            <a:spLocks/>
          </p:cNvSpPr>
          <p:nvPr/>
        </p:nvSpPr>
        <p:spPr>
          <a:xfrm>
            <a:off x="10039971" y="3299000"/>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Authorization</a:t>
            </a:r>
          </a:p>
        </p:txBody>
      </p:sp>
      <p:pic>
        <p:nvPicPr>
          <p:cNvPr id="14" name="Picture 2">
            <a:extLst>
              <a:ext uri="{FF2B5EF4-FFF2-40B4-BE49-F238E27FC236}">
                <a16:creationId xmlns:a16="http://schemas.microsoft.com/office/drawing/2014/main" id="{59CF9C95-D6F6-2E5D-8829-9580D4A693AF}"/>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6779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E3F7D-5517-9FB2-70A3-EC66C205EB6C}"/>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37C658-7E66-6D8E-1293-36F0AEB09E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2F37C658-7E66-6D8E-1293-36F0AEB09E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441E433B-06F0-0B12-6547-56C2EBEB56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2" name="Rectángulo 6175">
            <a:extLst>
              <a:ext uri="{FF2B5EF4-FFF2-40B4-BE49-F238E27FC236}">
                <a16:creationId xmlns:a16="http://schemas.microsoft.com/office/drawing/2014/main" id="{D54D48C9-0E5E-2068-8A0A-123F888F7ADC}"/>
              </a:ext>
            </a:extLst>
          </p:cNvPr>
          <p:cNvSpPr/>
          <p:nvPr/>
        </p:nvSpPr>
        <p:spPr>
          <a:xfrm flipV="1">
            <a:off x="9645188" y="-3"/>
            <a:ext cx="2546812" cy="6858002"/>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5131FDEC-C28B-67C5-89F0-2A07B447B793}"/>
              </a:ext>
            </a:extLst>
          </p:cNvPr>
          <p:cNvSpPr/>
          <p:nvPr/>
        </p:nvSpPr>
        <p:spPr>
          <a:xfrm rot="16200000">
            <a:off x="8101975"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6F41DDAD-7618-5F57-2154-3C7FF25F95ED}"/>
              </a:ext>
            </a:extLst>
          </p:cNvPr>
          <p:cNvSpPr/>
          <p:nvPr/>
        </p:nvSpPr>
        <p:spPr>
          <a:xfrm>
            <a:off x="6736443" y="1"/>
            <a:ext cx="4891314" cy="3429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F7B2917B-E484-CC85-4123-1098B00719C3}"/>
              </a:ext>
            </a:extLst>
          </p:cNvPr>
          <p:cNvSpPr/>
          <p:nvPr/>
        </p:nvSpPr>
        <p:spPr>
          <a:xfrm>
            <a:off x="6736443" y="983343"/>
            <a:ext cx="4891314" cy="4891314"/>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0153C5B-EAE1-2561-3366-F74989B402F1}"/>
              </a:ext>
            </a:extLst>
          </p:cNvPr>
          <p:cNvSpPr/>
          <p:nvPr/>
        </p:nvSpPr>
        <p:spPr>
          <a:xfrm>
            <a:off x="7344642" y="1591542"/>
            <a:ext cx="3674916" cy="3674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06110173-5046-3C12-750D-BC7E34BC4EEB}"/>
              </a:ext>
            </a:extLst>
          </p:cNvPr>
          <p:cNvGrpSpPr/>
          <p:nvPr/>
        </p:nvGrpSpPr>
        <p:grpSpPr>
          <a:xfrm>
            <a:off x="6653150" y="3643997"/>
            <a:ext cx="1293091" cy="1293091"/>
            <a:chOff x="7187500" y="839949"/>
            <a:chExt cx="1422400" cy="1422400"/>
          </a:xfrm>
        </p:grpSpPr>
        <p:sp>
          <p:nvSpPr>
            <p:cNvPr id="67" name="Oval 66">
              <a:extLst>
                <a:ext uri="{FF2B5EF4-FFF2-40B4-BE49-F238E27FC236}">
                  <a16:creationId xmlns:a16="http://schemas.microsoft.com/office/drawing/2014/main" id="{453DAD1E-8629-9305-BA20-9161DAA7BBE7}"/>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F9AAEBA6-58AD-368F-9B6D-FE8D7AAB5FE9}"/>
                </a:ext>
              </a:extLst>
            </p:cNvPr>
            <p:cNvSpPr/>
            <p:nvPr/>
          </p:nvSpPr>
          <p:spPr>
            <a:xfrm>
              <a:off x="7412941" y="1065390"/>
              <a:ext cx="971519" cy="971519"/>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Oval 58">
            <a:extLst>
              <a:ext uri="{FF2B5EF4-FFF2-40B4-BE49-F238E27FC236}">
                <a16:creationId xmlns:a16="http://schemas.microsoft.com/office/drawing/2014/main" id="{09AC7923-9B61-E84A-8164-C02F1F7E7929}"/>
              </a:ext>
            </a:extLst>
          </p:cNvPr>
          <p:cNvSpPr/>
          <p:nvPr/>
        </p:nvSpPr>
        <p:spPr>
          <a:xfrm>
            <a:off x="4268906" y="2374815"/>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2A03A8E7-0FBD-C25B-D4B4-B72276D79B93}"/>
              </a:ext>
            </a:extLst>
          </p:cNvPr>
          <p:cNvSpPr/>
          <p:nvPr/>
        </p:nvSpPr>
        <p:spPr>
          <a:xfrm>
            <a:off x="2389306" y="2374815"/>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8248A682-7B5A-B0C3-1CE4-1DB19AC4B47D}"/>
              </a:ext>
            </a:extLst>
          </p:cNvPr>
          <p:cNvSpPr/>
          <p:nvPr/>
        </p:nvSpPr>
        <p:spPr>
          <a:xfrm>
            <a:off x="436499" y="2374815"/>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D92F2165-5941-8B71-98BC-709A0BBEF64C}"/>
              </a:ext>
            </a:extLst>
          </p:cNvPr>
          <p:cNvGrpSpPr/>
          <p:nvPr/>
        </p:nvGrpSpPr>
        <p:grpSpPr>
          <a:xfrm>
            <a:off x="7048509" y="4038323"/>
            <a:ext cx="502372" cy="504439"/>
            <a:chOff x="3125788" y="636588"/>
            <a:chExt cx="771526" cy="774700"/>
          </a:xfrm>
          <a:effectLst>
            <a:outerShdw dist="38100" dir="2700000" algn="tl" rotWithShape="0">
              <a:prstClr val="black">
                <a:alpha val="20000"/>
              </a:prstClr>
            </a:outerShdw>
          </a:effectLst>
        </p:grpSpPr>
        <p:sp>
          <p:nvSpPr>
            <p:cNvPr id="21" name="Oval 17">
              <a:extLst>
                <a:ext uri="{FF2B5EF4-FFF2-40B4-BE49-F238E27FC236}">
                  <a16:creationId xmlns:a16="http://schemas.microsoft.com/office/drawing/2014/main" id="{5B09EBCB-DDF7-ABD2-CA8A-4D7333FC253A}"/>
                </a:ext>
              </a:extLst>
            </p:cNvPr>
            <p:cNvSpPr>
              <a:spLocks noChangeArrowheads="1"/>
            </p:cNvSpPr>
            <p:nvPr/>
          </p:nvSpPr>
          <p:spPr bwMode="auto">
            <a:xfrm>
              <a:off x="3125788" y="636588"/>
              <a:ext cx="771525" cy="774700"/>
            </a:xfrm>
            <a:prstGeom prst="ellipse">
              <a:avLst/>
            </a:prstGeom>
            <a:solidFill>
              <a:srgbClr val="059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18">
              <a:extLst>
                <a:ext uri="{FF2B5EF4-FFF2-40B4-BE49-F238E27FC236}">
                  <a16:creationId xmlns:a16="http://schemas.microsoft.com/office/drawing/2014/main" id="{298C8869-DB3F-DC49-0A5B-16EBAD5160DB}"/>
                </a:ext>
              </a:extLst>
            </p:cNvPr>
            <p:cNvSpPr>
              <a:spLocks/>
            </p:cNvSpPr>
            <p:nvPr/>
          </p:nvSpPr>
          <p:spPr bwMode="auto">
            <a:xfrm>
              <a:off x="3125788" y="636588"/>
              <a:ext cx="385763" cy="774700"/>
            </a:xfrm>
            <a:custGeom>
              <a:avLst/>
              <a:gdLst>
                <a:gd name="T0" fmla="*/ 102 w 102"/>
                <a:gd name="T1" fmla="*/ 0 h 205"/>
                <a:gd name="T2" fmla="*/ 0 w 102"/>
                <a:gd name="T3" fmla="*/ 103 h 205"/>
                <a:gd name="T4" fmla="*/ 102 w 102"/>
                <a:gd name="T5" fmla="*/ 205 h 205"/>
                <a:gd name="T6" fmla="*/ 102 w 102"/>
                <a:gd name="T7" fmla="*/ 0 h 205"/>
              </a:gdLst>
              <a:ahLst/>
              <a:cxnLst>
                <a:cxn ang="0">
                  <a:pos x="T0" y="T1"/>
                </a:cxn>
                <a:cxn ang="0">
                  <a:pos x="T2" y="T3"/>
                </a:cxn>
                <a:cxn ang="0">
                  <a:pos x="T4" y="T5"/>
                </a:cxn>
                <a:cxn ang="0">
                  <a:pos x="T6" y="T7"/>
                </a:cxn>
              </a:cxnLst>
              <a:rect l="0" t="0" r="r" b="b"/>
              <a:pathLst>
                <a:path w="102" h="205">
                  <a:moveTo>
                    <a:pt x="102" y="0"/>
                  </a:moveTo>
                  <a:cubicBezTo>
                    <a:pt x="45" y="0"/>
                    <a:pt x="0" y="46"/>
                    <a:pt x="0" y="103"/>
                  </a:cubicBezTo>
                  <a:cubicBezTo>
                    <a:pt x="0" y="159"/>
                    <a:pt x="45" y="205"/>
                    <a:pt x="102" y="205"/>
                  </a:cubicBezTo>
                  <a:lnTo>
                    <a:pt x="102" y="0"/>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19">
              <a:extLst>
                <a:ext uri="{FF2B5EF4-FFF2-40B4-BE49-F238E27FC236}">
                  <a16:creationId xmlns:a16="http://schemas.microsoft.com/office/drawing/2014/main" id="{2DD14A87-9B09-7FD0-C839-AE1C61A29FF3}"/>
                </a:ext>
              </a:extLst>
            </p:cNvPr>
            <p:cNvSpPr>
              <a:spLocks noEditPoints="1"/>
            </p:cNvSpPr>
            <p:nvPr/>
          </p:nvSpPr>
          <p:spPr bwMode="auto">
            <a:xfrm>
              <a:off x="3136901" y="673101"/>
              <a:ext cx="760413" cy="733425"/>
            </a:xfrm>
            <a:custGeom>
              <a:avLst/>
              <a:gdLst>
                <a:gd name="T0" fmla="*/ 117 w 201"/>
                <a:gd name="T1" fmla="*/ 158 h 194"/>
                <a:gd name="T2" fmla="*/ 116 w 201"/>
                <a:gd name="T3" fmla="*/ 149 h 194"/>
                <a:gd name="T4" fmla="*/ 132 w 201"/>
                <a:gd name="T5" fmla="*/ 145 h 194"/>
                <a:gd name="T6" fmla="*/ 117 w 201"/>
                <a:gd name="T7" fmla="*/ 158 h 194"/>
                <a:gd name="T8" fmla="*/ 162 w 201"/>
                <a:gd name="T9" fmla="*/ 125 h 194"/>
                <a:gd name="T10" fmla="*/ 180 w 201"/>
                <a:gd name="T11" fmla="*/ 91 h 194"/>
                <a:gd name="T12" fmla="*/ 180 w 201"/>
                <a:gd name="T13" fmla="*/ 91 h 194"/>
                <a:gd name="T14" fmla="*/ 201 w 201"/>
                <a:gd name="T15" fmla="*/ 91 h 194"/>
                <a:gd name="T16" fmla="*/ 201 w 201"/>
                <a:gd name="T17" fmla="*/ 82 h 194"/>
                <a:gd name="T18" fmla="*/ 183 w 201"/>
                <a:gd name="T19" fmla="*/ 82 h 194"/>
                <a:gd name="T20" fmla="*/ 190 w 201"/>
                <a:gd name="T21" fmla="*/ 45 h 194"/>
                <a:gd name="T22" fmla="*/ 181 w 201"/>
                <a:gd name="T23" fmla="*/ 31 h 194"/>
                <a:gd name="T24" fmla="*/ 173 w 201"/>
                <a:gd name="T25" fmla="*/ 82 h 194"/>
                <a:gd name="T26" fmla="*/ 173 w 201"/>
                <a:gd name="T27" fmla="*/ 82 h 194"/>
                <a:gd name="T28" fmla="*/ 106 w 201"/>
                <a:gd name="T29" fmla="*/ 57 h 194"/>
                <a:gd name="T30" fmla="*/ 76 w 201"/>
                <a:gd name="T31" fmla="*/ 29 h 194"/>
                <a:gd name="T32" fmla="*/ 89 w 201"/>
                <a:gd name="T33" fmla="*/ 30 h 194"/>
                <a:gd name="T34" fmla="*/ 162 w 201"/>
                <a:gd name="T35" fmla="*/ 12 h 194"/>
                <a:gd name="T36" fmla="*/ 153 w 201"/>
                <a:gd name="T37" fmla="*/ 6 h 194"/>
                <a:gd name="T38" fmla="*/ 68 w 201"/>
                <a:gd name="T39" fmla="*/ 19 h 194"/>
                <a:gd name="T40" fmla="*/ 56 w 201"/>
                <a:gd name="T41" fmla="*/ 0 h 194"/>
                <a:gd name="T42" fmla="*/ 47 w 201"/>
                <a:gd name="T43" fmla="*/ 4 h 194"/>
                <a:gd name="T44" fmla="*/ 55 w 201"/>
                <a:gd name="T45" fmla="*/ 16 h 194"/>
                <a:gd name="T46" fmla="*/ 37 w 201"/>
                <a:gd name="T47" fmla="*/ 11 h 194"/>
                <a:gd name="T48" fmla="*/ 29 w 201"/>
                <a:gd name="T49" fmla="*/ 18 h 194"/>
                <a:gd name="T50" fmla="*/ 63 w 201"/>
                <a:gd name="T51" fmla="*/ 28 h 194"/>
                <a:gd name="T52" fmla="*/ 63 w 201"/>
                <a:gd name="T53" fmla="*/ 28 h 194"/>
                <a:gd name="T54" fmla="*/ 101 w 201"/>
                <a:gd name="T55" fmla="*/ 65 h 194"/>
                <a:gd name="T56" fmla="*/ 170 w 201"/>
                <a:gd name="T57" fmla="*/ 90 h 194"/>
                <a:gd name="T58" fmla="*/ 145 w 201"/>
                <a:gd name="T59" fmla="*/ 132 h 194"/>
                <a:gd name="T60" fmla="*/ 114 w 201"/>
                <a:gd name="T61" fmla="*/ 139 h 194"/>
                <a:gd name="T62" fmla="*/ 89 w 201"/>
                <a:gd name="T63" fmla="*/ 93 h 194"/>
                <a:gd name="T64" fmla="*/ 3 w 201"/>
                <a:gd name="T65" fmla="*/ 56 h 194"/>
                <a:gd name="T66" fmla="*/ 0 w 201"/>
                <a:gd name="T67" fmla="*/ 65 h 194"/>
                <a:gd name="T68" fmla="*/ 82 w 201"/>
                <a:gd name="T69" fmla="*/ 100 h 194"/>
                <a:gd name="T70" fmla="*/ 104 w 201"/>
                <a:gd name="T71" fmla="*/ 140 h 194"/>
                <a:gd name="T72" fmla="*/ 46 w 201"/>
                <a:gd name="T73" fmla="*/ 138 h 194"/>
                <a:gd name="T74" fmla="*/ 2 w 201"/>
                <a:gd name="T75" fmla="*/ 126 h 194"/>
                <a:gd name="T76" fmla="*/ 7 w 201"/>
                <a:gd name="T77" fmla="*/ 138 h 194"/>
                <a:gd name="T78" fmla="*/ 44 w 201"/>
                <a:gd name="T79" fmla="*/ 147 h 194"/>
                <a:gd name="T80" fmla="*/ 106 w 201"/>
                <a:gd name="T81" fmla="*/ 150 h 194"/>
                <a:gd name="T82" fmla="*/ 108 w 201"/>
                <a:gd name="T83" fmla="*/ 165 h 194"/>
                <a:gd name="T84" fmla="*/ 66 w 201"/>
                <a:gd name="T85" fmla="*/ 190 h 194"/>
                <a:gd name="T86" fmla="*/ 80 w 201"/>
                <a:gd name="T87" fmla="*/ 193 h 194"/>
                <a:gd name="T88" fmla="*/ 109 w 201"/>
                <a:gd name="T89" fmla="*/ 176 h 194"/>
                <a:gd name="T90" fmla="*/ 109 w 201"/>
                <a:gd name="T91" fmla="*/ 194 h 194"/>
                <a:gd name="T92" fmla="*/ 118 w 201"/>
                <a:gd name="T93" fmla="*/ 193 h 194"/>
                <a:gd name="T94" fmla="*/ 118 w 201"/>
                <a:gd name="T95" fmla="*/ 170 h 194"/>
                <a:gd name="T96" fmla="*/ 150 w 201"/>
                <a:gd name="T97" fmla="*/ 140 h 194"/>
                <a:gd name="T98" fmla="*/ 150 w 201"/>
                <a:gd name="T99" fmla="*/ 140 h 194"/>
                <a:gd name="T100" fmla="*/ 174 w 201"/>
                <a:gd name="T101" fmla="*/ 129 h 194"/>
                <a:gd name="T102" fmla="*/ 199 w 201"/>
                <a:gd name="T103" fmla="*/ 113 h 194"/>
                <a:gd name="T104" fmla="*/ 199 w 201"/>
                <a:gd name="T105" fmla="*/ 113 h 194"/>
                <a:gd name="T106" fmla="*/ 201 w 201"/>
                <a:gd name="T107" fmla="*/ 99 h 194"/>
                <a:gd name="T108" fmla="*/ 170 w 201"/>
                <a:gd name="T109" fmla="*/ 121 h 194"/>
                <a:gd name="T110" fmla="*/ 162 w 201"/>
                <a:gd name="T111" fmla="*/ 12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194">
                  <a:moveTo>
                    <a:pt x="117" y="158"/>
                  </a:moveTo>
                  <a:cubicBezTo>
                    <a:pt x="117" y="155"/>
                    <a:pt x="116" y="152"/>
                    <a:pt x="116" y="149"/>
                  </a:cubicBezTo>
                  <a:cubicBezTo>
                    <a:pt x="121" y="148"/>
                    <a:pt x="127" y="147"/>
                    <a:pt x="132" y="145"/>
                  </a:cubicBezTo>
                  <a:cubicBezTo>
                    <a:pt x="127" y="150"/>
                    <a:pt x="122" y="154"/>
                    <a:pt x="117" y="158"/>
                  </a:cubicBezTo>
                  <a:close/>
                  <a:moveTo>
                    <a:pt x="162" y="125"/>
                  </a:moveTo>
                  <a:cubicBezTo>
                    <a:pt x="169" y="114"/>
                    <a:pt x="175" y="103"/>
                    <a:pt x="180" y="91"/>
                  </a:cubicBezTo>
                  <a:cubicBezTo>
                    <a:pt x="180" y="91"/>
                    <a:pt x="180" y="91"/>
                    <a:pt x="180" y="91"/>
                  </a:cubicBezTo>
                  <a:cubicBezTo>
                    <a:pt x="187" y="91"/>
                    <a:pt x="194" y="91"/>
                    <a:pt x="201" y="91"/>
                  </a:cubicBezTo>
                  <a:cubicBezTo>
                    <a:pt x="201" y="88"/>
                    <a:pt x="201" y="85"/>
                    <a:pt x="201" y="82"/>
                  </a:cubicBezTo>
                  <a:cubicBezTo>
                    <a:pt x="194" y="82"/>
                    <a:pt x="188" y="82"/>
                    <a:pt x="183" y="82"/>
                  </a:cubicBezTo>
                  <a:cubicBezTo>
                    <a:pt x="186" y="71"/>
                    <a:pt x="189" y="58"/>
                    <a:pt x="190" y="45"/>
                  </a:cubicBezTo>
                  <a:cubicBezTo>
                    <a:pt x="187" y="40"/>
                    <a:pt x="184" y="35"/>
                    <a:pt x="181" y="31"/>
                  </a:cubicBezTo>
                  <a:cubicBezTo>
                    <a:pt x="181" y="47"/>
                    <a:pt x="178" y="65"/>
                    <a:pt x="173" y="82"/>
                  </a:cubicBezTo>
                  <a:cubicBezTo>
                    <a:pt x="173" y="82"/>
                    <a:pt x="173" y="82"/>
                    <a:pt x="173" y="82"/>
                  </a:cubicBezTo>
                  <a:cubicBezTo>
                    <a:pt x="148" y="79"/>
                    <a:pt x="124" y="69"/>
                    <a:pt x="106" y="57"/>
                  </a:cubicBezTo>
                  <a:cubicBezTo>
                    <a:pt x="96" y="49"/>
                    <a:pt x="85" y="40"/>
                    <a:pt x="76" y="29"/>
                  </a:cubicBezTo>
                  <a:cubicBezTo>
                    <a:pt x="81" y="30"/>
                    <a:pt x="85" y="30"/>
                    <a:pt x="89" y="30"/>
                  </a:cubicBezTo>
                  <a:cubicBezTo>
                    <a:pt x="114" y="30"/>
                    <a:pt x="139" y="23"/>
                    <a:pt x="162" y="12"/>
                  </a:cubicBezTo>
                  <a:cubicBezTo>
                    <a:pt x="159" y="9"/>
                    <a:pt x="156" y="7"/>
                    <a:pt x="153" y="6"/>
                  </a:cubicBezTo>
                  <a:cubicBezTo>
                    <a:pt x="127" y="19"/>
                    <a:pt x="98" y="24"/>
                    <a:pt x="68" y="19"/>
                  </a:cubicBezTo>
                  <a:cubicBezTo>
                    <a:pt x="64" y="13"/>
                    <a:pt x="60" y="6"/>
                    <a:pt x="56" y="0"/>
                  </a:cubicBezTo>
                  <a:cubicBezTo>
                    <a:pt x="53" y="1"/>
                    <a:pt x="50" y="3"/>
                    <a:pt x="47" y="4"/>
                  </a:cubicBezTo>
                  <a:cubicBezTo>
                    <a:pt x="49" y="8"/>
                    <a:pt x="52" y="12"/>
                    <a:pt x="55" y="16"/>
                  </a:cubicBezTo>
                  <a:cubicBezTo>
                    <a:pt x="49" y="15"/>
                    <a:pt x="43" y="13"/>
                    <a:pt x="37" y="11"/>
                  </a:cubicBezTo>
                  <a:cubicBezTo>
                    <a:pt x="34" y="13"/>
                    <a:pt x="32" y="15"/>
                    <a:pt x="29" y="18"/>
                  </a:cubicBezTo>
                  <a:cubicBezTo>
                    <a:pt x="40" y="22"/>
                    <a:pt x="51" y="26"/>
                    <a:pt x="63" y="28"/>
                  </a:cubicBezTo>
                  <a:cubicBezTo>
                    <a:pt x="63" y="28"/>
                    <a:pt x="63" y="28"/>
                    <a:pt x="63" y="28"/>
                  </a:cubicBezTo>
                  <a:cubicBezTo>
                    <a:pt x="74" y="42"/>
                    <a:pt x="86" y="54"/>
                    <a:pt x="101" y="65"/>
                  </a:cubicBezTo>
                  <a:cubicBezTo>
                    <a:pt x="118" y="77"/>
                    <a:pt x="144" y="87"/>
                    <a:pt x="170" y="90"/>
                  </a:cubicBezTo>
                  <a:cubicBezTo>
                    <a:pt x="168" y="96"/>
                    <a:pt x="159" y="115"/>
                    <a:pt x="145" y="132"/>
                  </a:cubicBezTo>
                  <a:cubicBezTo>
                    <a:pt x="134" y="135"/>
                    <a:pt x="124" y="138"/>
                    <a:pt x="114" y="139"/>
                  </a:cubicBezTo>
                  <a:cubicBezTo>
                    <a:pt x="109" y="121"/>
                    <a:pt x="100" y="106"/>
                    <a:pt x="89" y="93"/>
                  </a:cubicBezTo>
                  <a:cubicBezTo>
                    <a:pt x="62" y="64"/>
                    <a:pt x="24" y="57"/>
                    <a:pt x="3" y="56"/>
                  </a:cubicBezTo>
                  <a:cubicBezTo>
                    <a:pt x="2" y="59"/>
                    <a:pt x="1" y="62"/>
                    <a:pt x="0" y="65"/>
                  </a:cubicBezTo>
                  <a:cubicBezTo>
                    <a:pt x="19" y="67"/>
                    <a:pt x="56" y="72"/>
                    <a:pt x="82" y="100"/>
                  </a:cubicBezTo>
                  <a:cubicBezTo>
                    <a:pt x="92" y="111"/>
                    <a:pt x="100" y="124"/>
                    <a:pt x="104" y="140"/>
                  </a:cubicBezTo>
                  <a:cubicBezTo>
                    <a:pt x="85" y="142"/>
                    <a:pt x="66" y="141"/>
                    <a:pt x="46" y="138"/>
                  </a:cubicBezTo>
                  <a:cubicBezTo>
                    <a:pt x="38" y="137"/>
                    <a:pt x="21" y="133"/>
                    <a:pt x="2" y="126"/>
                  </a:cubicBezTo>
                  <a:cubicBezTo>
                    <a:pt x="4" y="131"/>
                    <a:pt x="5" y="134"/>
                    <a:pt x="7" y="138"/>
                  </a:cubicBezTo>
                  <a:cubicBezTo>
                    <a:pt x="28" y="144"/>
                    <a:pt x="41" y="147"/>
                    <a:pt x="44" y="147"/>
                  </a:cubicBezTo>
                  <a:cubicBezTo>
                    <a:pt x="65" y="151"/>
                    <a:pt x="86" y="152"/>
                    <a:pt x="106" y="150"/>
                  </a:cubicBezTo>
                  <a:cubicBezTo>
                    <a:pt x="107" y="155"/>
                    <a:pt x="108" y="160"/>
                    <a:pt x="108" y="165"/>
                  </a:cubicBezTo>
                  <a:cubicBezTo>
                    <a:pt x="95" y="174"/>
                    <a:pt x="81" y="183"/>
                    <a:pt x="66" y="190"/>
                  </a:cubicBezTo>
                  <a:cubicBezTo>
                    <a:pt x="71" y="191"/>
                    <a:pt x="75" y="192"/>
                    <a:pt x="80" y="193"/>
                  </a:cubicBezTo>
                  <a:cubicBezTo>
                    <a:pt x="90" y="188"/>
                    <a:pt x="100" y="183"/>
                    <a:pt x="109" y="176"/>
                  </a:cubicBezTo>
                  <a:cubicBezTo>
                    <a:pt x="109" y="182"/>
                    <a:pt x="109" y="188"/>
                    <a:pt x="109" y="194"/>
                  </a:cubicBezTo>
                  <a:cubicBezTo>
                    <a:pt x="112" y="194"/>
                    <a:pt x="115" y="194"/>
                    <a:pt x="118" y="193"/>
                  </a:cubicBezTo>
                  <a:cubicBezTo>
                    <a:pt x="119" y="185"/>
                    <a:pt x="119" y="177"/>
                    <a:pt x="118" y="170"/>
                  </a:cubicBezTo>
                  <a:cubicBezTo>
                    <a:pt x="130" y="161"/>
                    <a:pt x="141" y="151"/>
                    <a:pt x="150" y="140"/>
                  </a:cubicBezTo>
                  <a:cubicBezTo>
                    <a:pt x="150" y="140"/>
                    <a:pt x="150" y="140"/>
                    <a:pt x="150" y="140"/>
                  </a:cubicBezTo>
                  <a:cubicBezTo>
                    <a:pt x="159" y="137"/>
                    <a:pt x="167" y="133"/>
                    <a:pt x="174" y="129"/>
                  </a:cubicBezTo>
                  <a:cubicBezTo>
                    <a:pt x="184" y="124"/>
                    <a:pt x="192" y="119"/>
                    <a:pt x="199" y="113"/>
                  </a:cubicBezTo>
                  <a:cubicBezTo>
                    <a:pt x="199" y="113"/>
                    <a:pt x="199" y="113"/>
                    <a:pt x="199" y="113"/>
                  </a:cubicBezTo>
                  <a:cubicBezTo>
                    <a:pt x="200" y="108"/>
                    <a:pt x="201" y="104"/>
                    <a:pt x="201" y="99"/>
                  </a:cubicBezTo>
                  <a:cubicBezTo>
                    <a:pt x="193" y="107"/>
                    <a:pt x="182" y="114"/>
                    <a:pt x="170" y="121"/>
                  </a:cubicBezTo>
                  <a:cubicBezTo>
                    <a:pt x="167" y="122"/>
                    <a:pt x="165" y="123"/>
                    <a:pt x="162" y="125"/>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20">
              <a:extLst>
                <a:ext uri="{FF2B5EF4-FFF2-40B4-BE49-F238E27FC236}">
                  <a16:creationId xmlns:a16="http://schemas.microsoft.com/office/drawing/2014/main" id="{5C0ADC31-CB97-AA23-D7E6-1B6A53AA1585}"/>
                </a:ext>
              </a:extLst>
            </p:cNvPr>
            <p:cNvSpPr>
              <a:spLocks/>
            </p:cNvSpPr>
            <p:nvPr/>
          </p:nvSpPr>
          <p:spPr bwMode="auto">
            <a:xfrm>
              <a:off x="3246438" y="673101"/>
              <a:ext cx="265113" cy="238125"/>
            </a:xfrm>
            <a:custGeom>
              <a:avLst/>
              <a:gdLst>
                <a:gd name="T0" fmla="*/ 70 w 70"/>
                <a:gd name="T1" fmla="*/ 30 h 63"/>
                <a:gd name="T2" fmla="*/ 70 w 70"/>
                <a:gd name="T3" fmla="*/ 21 h 63"/>
                <a:gd name="T4" fmla="*/ 39 w 70"/>
                <a:gd name="T5" fmla="*/ 19 h 63"/>
                <a:gd name="T6" fmla="*/ 27 w 70"/>
                <a:gd name="T7" fmla="*/ 0 h 63"/>
                <a:gd name="T8" fmla="*/ 18 w 70"/>
                <a:gd name="T9" fmla="*/ 4 h 63"/>
                <a:gd name="T10" fmla="*/ 26 w 70"/>
                <a:gd name="T11" fmla="*/ 16 h 63"/>
                <a:gd name="T12" fmla="*/ 8 w 70"/>
                <a:gd name="T13" fmla="*/ 11 h 63"/>
                <a:gd name="T14" fmla="*/ 0 w 70"/>
                <a:gd name="T15" fmla="*/ 18 h 63"/>
                <a:gd name="T16" fmla="*/ 34 w 70"/>
                <a:gd name="T17" fmla="*/ 28 h 63"/>
                <a:gd name="T18" fmla="*/ 34 w 70"/>
                <a:gd name="T19" fmla="*/ 28 h 63"/>
                <a:gd name="T20" fmla="*/ 70 w 70"/>
                <a:gd name="T21" fmla="*/ 63 h 63"/>
                <a:gd name="T22" fmla="*/ 70 w 70"/>
                <a:gd name="T23" fmla="*/ 51 h 63"/>
                <a:gd name="T24" fmla="*/ 48 w 70"/>
                <a:gd name="T25" fmla="*/ 29 h 63"/>
                <a:gd name="T26" fmla="*/ 60 w 70"/>
                <a:gd name="T27" fmla="*/ 30 h 63"/>
                <a:gd name="T28" fmla="*/ 70 w 70"/>
                <a:gd name="T29"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63">
                  <a:moveTo>
                    <a:pt x="70" y="30"/>
                  </a:moveTo>
                  <a:cubicBezTo>
                    <a:pt x="70" y="21"/>
                    <a:pt x="70" y="21"/>
                    <a:pt x="70" y="21"/>
                  </a:cubicBezTo>
                  <a:cubicBezTo>
                    <a:pt x="60" y="21"/>
                    <a:pt x="50" y="21"/>
                    <a:pt x="39" y="19"/>
                  </a:cubicBezTo>
                  <a:cubicBezTo>
                    <a:pt x="35" y="13"/>
                    <a:pt x="31" y="6"/>
                    <a:pt x="27" y="0"/>
                  </a:cubicBezTo>
                  <a:cubicBezTo>
                    <a:pt x="24" y="1"/>
                    <a:pt x="21" y="2"/>
                    <a:pt x="18" y="4"/>
                  </a:cubicBezTo>
                  <a:cubicBezTo>
                    <a:pt x="20" y="8"/>
                    <a:pt x="23" y="12"/>
                    <a:pt x="26" y="16"/>
                  </a:cubicBezTo>
                  <a:cubicBezTo>
                    <a:pt x="20" y="15"/>
                    <a:pt x="14" y="13"/>
                    <a:pt x="8" y="11"/>
                  </a:cubicBezTo>
                  <a:cubicBezTo>
                    <a:pt x="5" y="13"/>
                    <a:pt x="3" y="15"/>
                    <a:pt x="0" y="18"/>
                  </a:cubicBezTo>
                  <a:cubicBezTo>
                    <a:pt x="11" y="22"/>
                    <a:pt x="22" y="26"/>
                    <a:pt x="34" y="28"/>
                  </a:cubicBezTo>
                  <a:cubicBezTo>
                    <a:pt x="34" y="28"/>
                    <a:pt x="34" y="28"/>
                    <a:pt x="34" y="28"/>
                  </a:cubicBezTo>
                  <a:cubicBezTo>
                    <a:pt x="44" y="41"/>
                    <a:pt x="56" y="53"/>
                    <a:pt x="70" y="63"/>
                  </a:cubicBezTo>
                  <a:cubicBezTo>
                    <a:pt x="70" y="51"/>
                    <a:pt x="70" y="51"/>
                    <a:pt x="70" y="51"/>
                  </a:cubicBezTo>
                  <a:cubicBezTo>
                    <a:pt x="62" y="45"/>
                    <a:pt x="54" y="37"/>
                    <a:pt x="48" y="29"/>
                  </a:cubicBezTo>
                  <a:cubicBezTo>
                    <a:pt x="52" y="30"/>
                    <a:pt x="56" y="30"/>
                    <a:pt x="60" y="30"/>
                  </a:cubicBezTo>
                  <a:cubicBezTo>
                    <a:pt x="63" y="30"/>
                    <a:pt x="67" y="30"/>
                    <a:pt x="70" y="3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Oval 21">
              <a:extLst>
                <a:ext uri="{FF2B5EF4-FFF2-40B4-BE49-F238E27FC236}">
                  <a16:creationId xmlns:a16="http://schemas.microsoft.com/office/drawing/2014/main" id="{F4F070CF-85EE-7732-460D-FE5AA6052405}"/>
                </a:ext>
              </a:extLst>
            </p:cNvPr>
            <p:cNvSpPr>
              <a:spLocks noChangeArrowheads="1"/>
            </p:cNvSpPr>
            <p:nvPr/>
          </p:nvSpPr>
          <p:spPr bwMode="auto">
            <a:xfrm>
              <a:off x="3341688" y="722313"/>
              <a:ext cx="71438"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22">
              <a:extLst>
                <a:ext uri="{FF2B5EF4-FFF2-40B4-BE49-F238E27FC236}">
                  <a16:creationId xmlns:a16="http://schemas.microsoft.com/office/drawing/2014/main" id="{D45547A8-D021-4F39-A2CC-F4445EFB38B9}"/>
                </a:ext>
              </a:extLst>
            </p:cNvPr>
            <p:cNvSpPr>
              <a:spLocks/>
            </p:cNvSpPr>
            <p:nvPr/>
          </p:nvSpPr>
          <p:spPr bwMode="auto">
            <a:xfrm>
              <a:off x="3136901" y="782638"/>
              <a:ext cx="374650" cy="563563"/>
            </a:xfrm>
            <a:custGeom>
              <a:avLst/>
              <a:gdLst>
                <a:gd name="T0" fmla="*/ 99 w 99"/>
                <a:gd name="T1" fmla="*/ 97 h 149"/>
                <a:gd name="T2" fmla="*/ 99 w 99"/>
                <a:gd name="T3" fmla="*/ 77 h 149"/>
                <a:gd name="T4" fmla="*/ 89 w 99"/>
                <a:gd name="T5" fmla="*/ 64 h 149"/>
                <a:gd name="T6" fmla="*/ 46 w 99"/>
                <a:gd name="T7" fmla="*/ 36 h 149"/>
                <a:gd name="T8" fmla="*/ 18 w 99"/>
                <a:gd name="T9" fmla="*/ 0 h 149"/>
                <a:gd name="T10" fmla="*/ 13 w 99"/>
                <a:gd name="T11" fmla="*/ 8 h 149"/>
                <a:gd name="T12" fmla="*/ 33 w 99"/>
                <a:gd name="T13" fmla="*/ 32 h 149"/>
                <a:gd name="T14" fmla="*/ 3 w 99"/>
                <a:gd name="T15" fmla="*/ 27 h 149"/>
                <a:gd name="T16" fmla="*/ 0 w 99"/>
                <a:gd name="T17" fmla="*/ 36 h 149"/>
                <a:gd name="T18" fmla="*/ 40 w 99"/>
                <a:gd name="T19" fmla="*/ 44 h 149"/>
                <a:gd name="T20" fmla="*/ 48 w 99"/>
                <a:gd name="T21" fmla="*/ 71 h 149"/>
                <a:gd name="T22" fmla="*/ 46 w 99"/>
                <a:gd name="T23" fmla="*/ 109 h 149"/>
                <a:gd name="T24" fmla="*/ 2 w 99"/>
                <a:gd name="T25" fmla="*/ 98 h 149"/>
                <a:gd name="T26" fmla="*/ 7 w 99"/>
                <a:gd name="T27" fmla="*/ 109 h 149"/>
                <a:gd name="T28" fmla="*/ 44 w 99"/>
                <a:gd name="T29" fmla="*/ 118 h 149"/>
                <a:gd name="T30" fmla="*/ 35 w 99"/>
                <a:gd name="T31" fmla="*/ 144 h 149"/>
                <a:gd name="T32" fmla="*/ 43 w 99"/>
                <a:gd name="T33" fmla="*/ 149 h 149"/>
                <a:gd name="T34" fmla="*/ 54 w 99"/>
                <a:gd name="T35" fmla="*/ 120 h 149"/>
                <a:gd name="T36" fmla="*/ 99 w 99"/>
                <a:gd name="T37" fmla="*/ 121 h 149"/>
                <a:gd name="T38" fmla="*/ 99 w 99"/>
                <a:gd name="T39" fmla="*/ 112 h 149"/>
                <a:gd name="T40" fmla="*/ 56 w 99"/>
                <a:gd name="T41" fmla="*/ 110 h 149"/>
                <a:gd name="T42" fmla="*/ 57 w 99"/>
                <a:gd name="T43" fmla="*/ 76 h 149"/>
                <a:gd name="T44" fmla="*/ 52 w 99"/>
                <a:gd name="T45" fmla="*/ 49 h 149"/>
                <a:gd name="T46" fmla="*/ 82 w 99"/>
                <a:gd name="T47" fmla="*/ 71 h 149"/>
                <a:gd name="T48" fmla="*/ 99 w 99"/>
                <a:gd name="T49" fmla="*/ 9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49">
                  <a:moveTo>
                    <a:pt x="99" y="97"/>
                  </a:moveTo>
                  <a:cubicBezTo>
                    <a:pt x="99" y="77"/>
                    <a:pt x="99" y="77"/>
                    <a:pt x="99" y="77"/>
                  </a:cubicBezTo>
                  <a:cubicBezTo>
                    <a:pt x="96" y="72"/>
                    <a:pt x="92" y="68"/>
                    <a:pt x="89" y="64"/>
                  </a:cubicBezTo>
                  <a:cubicBezTo>
                    <a:pt x="76" y="50"/>
                    <a:pt x="61" y="42"/>
                    <a:pt x="46" y="36"/>
                  </a:cubicBezTo>
                  <a:cubicBezTo>
                    <a:pt x="39" y="22"/>
                    <a:pt x="29" y="10"/>
                    <a:pt x="18" y="0"/>
                  </a:cubicBezTo>
                  <a:cubicBezTo>
                    <a:pt x="16" y="3"/>
                    <a:pt x="15" y="5"/>
                    <a:pt x="13" y="8"/>
                  </a:cubicBezTo>
                  <a:cubicBezTo>
                    <a:pt x="21" y="15"/>
                    <a:pt x="28" y="23"/>
                    <a:pt x="33" y="32"/>
                  </a:cubicBezTo>
                  <a:cubicBezTo>
                    <a:pt x="22" y="29"/>
                    <a:pt x="11" y="28"/>
                    <a:pt x="3" y="27"/>
                  </a:cubicBezTo>
                  <a:cubicBezTo>
                    <a:pt x="2" y="31"/>
                    <a:pt x="1" y="33"/>
                    <a:pt x="0" y="36"/>
                  </a:cubicBezTo>
                  <a:cubicBezTo>
                    <a:pt x="10" y="37"/>
                    <a:pt x="25" y="39"/>
                    <a:pt x="40" y="44"/>
                  </a:cubicBezTo>
                  <a:cubicBezTo>
                    <a:pt x="44" y="53"/>
                    <a:pt x="46" y="62"/>
                    <a:pt x="48" y="71"/>
                  </a:cubicBezTo>
                  <a:cubicBezTo>
                    <a:pt x="49" y="83"/>
                    <a:pt x="49" y="96"/>
                    <a:pt x="46" y="109"/>
                  </a:cubicBezTo>
                  <a:cubicBezTo>
                    <a:pt x="38" y="108"/>
                    <a:pt x="21" y="104"/>
                    <a:pt x="2" y="98"/>
                  </a:cubicBezTo>
                  <a:cubicBezTo>
                    <a:pt x="4" y="101"/>
                    <a:pt x="5" y="105"/>
                    <a:pt x="7" y="109"/>
                  </a:cubicBezTo>
                  <a:cubicBezTo>
                    <a:pt x="28" y="115"/>
                    <a:pt x="41" y="118"/>
                    <a:pt x="44" y="118"/>
                  </a:cubicBezTo>
                  <a:cubicBezTo>
                    <a:pt x="42" y="127"/>
                    <a:pt x="39" y="136"/>
                    <a:pt x="35" y="144"/>
                  </a:cubicBezTo>
                  <a:cubicBezTo>
                    <a:pt x="38" y="146"/>
                    <a:pt x="41" y="148"/>
                    <a:pt x="43" y="149"/>
                  </a:cubicBezTo>
                  <a:cubicBezTo>
                    <a:pt x="48" y="140"/>
                    <a:pt x="51" y="130"/>
                    <a:pt x="54" y="120"/>
                  </a:cubicBezTo>
                  <a:cubicBezTo>
                    <a:pt x="69" y="122"/>
                    <a:pt x="84" y="122"/>
                    <a:pt x="99" y="121"/>
                  </a:cubicBezTo>
                  <a:cubicBezTo>
                    <a:pt x="99" y="112"/>
                    <a:pt x="99" y="112"/>
                    <a:pt x="99" y="112"/>
                  </a:cubicBezTo>
                  <a:cubicBezTo>
                    <a:pt x="85" y="113"/>
                    <a:pt x="70" y="112"/>
                    <a:pt x="56" y="110"/>
                  </a:cubicBezTo>
                  <a:cubicBezTo>
                    <a:pt x="58" y="99"/>
                    <a:pt x="59" y="87"/>
                    <a:pt x="57" y="76"/>
                  </a:cubicBezTo>
                  <a:cubicBezTo>
                    <a:pt x="57" y="67"/>
                    <a:pt x="55" y="58"/>
                    <a:pt x="52" y="49"/>
                  </a:cubicBezTo>
                  <a:cubicBezTo>
                    <a:pt x="62" y="54"/>
                    <a:pt x="73" y="61"/>
                    <a:pt x="82" y="71"/>
                  </a:cubicBezTo>
                  <a:cubicBezTo>
                    <a:pt x="89" y="78"/>
                    <a:pt x="95" y="87"/>
                    <a:pt x="99" y="97"/>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Oval 23">
              <a:extLst>
                <a:ext uri="{FF2B5EF4-FFF2-40B4-BE49-F238E27FC236}">
                  <a16:creationId xmlns:a16="http://schemas.microsoft.com/office/drawing/2014/main" id="{19D8618C-BA54-71AD-5FBD-20BD35D66155}"/>
                </a:ext>
              </a:extLst>
            </p:cNvPr>
            <p:cNvSpPr>
              <a:spLocks noChangeArrowheads="1"/>
            </p:cNvSpPr>
            <p:nvPr/>
          </p:nvSpPr>
          <p:spPr bwMode="auto">
            <a:xfrm>
              <a:off x="3511551" y="1181101"/>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Oval 24">
              <a:extLst>
                <a:ext uri="{FF2B5EF4-FFF2-40B4-BE49-F238E27FC236}">
                  <a16:creationId xmlns:a16="http://schemas.microsoft.com/office/drawing/2014/main" id="{45781513-CA5D-6882-2630-343073D9F54D}"/>
                </a:ext>
              </a:extLst>
            </p:cNvPr>
            <p:cNvSpPr>
              <a:spLocks noChangeArrowheads="1"/>
            </p:cNvSpPr>
            <p:nvPr/>
          </p:nvSpPr>
          <p:spPr bwMode="auto">
            <a:xfrm>
              <a:off x="3530601" y="1274763"/>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Oval 25">
              <a:extLst>
                <a:ext uri="{FF2B5EF4-FFF2-40B4-BE49-F238E27FC236}">
                  <a16:creationId xmlns:a16="http://schemas.microsoft.com/office/drawing/2014/main" id="{5EF9FA54-B92E-6B50-93FE-212F04BAB85C}"/>
                </a:ext>
              </a:extLst>
            </p:cNvPr>
            <p:cNvSpPr>
              <a:spLocks noChangeArrowheads="1"/>
            </p:cNvSpPr>
            <p:nvPr/>
          </p:nvSpPr>
          <p:spPr bwMode="auto">
            <a:xfrm>
              <a:off x="3265488" y="904876"/>
              <a:ext cx="73025"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Oval 26">
              <a:extLst>
                <a:ext uri="{FF2B5EF4-FFF2-40B4-BE49-F238E27FC236}">
                  <a16:creationId xmlns:a16="http://schemas.microsoft.com/office/drawing/2014/main" id="{F835CFFB-4D1A-8672-493B-74E100BB376A}"/>
                </a:ext>
              </a:extLst>
            </p:cNvPr>
            <p:cNvSpPr>
              <a:spLocks noChangeArrowheads="1"/>
            </p:cNvSpPr>
            <p:nvPr/>
          </p:nvSpPr>
          <p:spPr bwMode="auto">
            <a:xfrm>
              <a:off x="3292476" y="1025526"/>
              <a:ext cx="76200"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Oval 27">
              <a:extLst>
                <a:ext uri="{FF2B5EF4-FFF2-40B4-BE49-F238E27FC236}">
                  <a16:creationId xmlns:a16="http://schemas.microsoft.com/office/drawing/2014/main" id="{2A03210A-6F56-F5A7-209B-4C0D892EC5B9}"/>
                </a:ext>
              </a:extLst>
            </p:cNvPr>
            <p:cNvSpPr>
              <a:spLocks noChangeArrowheads="1"/>
            </p:cNvSpPr>
            <p:nvPr/>
          </p:nvSpPr>
          <p:spPr bwMode="auto">
            <a:xfrm>
              <a:off x="3292476" y="1181101"/>
              <a:ext cx="76200"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Oval 28">
              <a:extLst>
                <a:ext uri="{FF2B5EF4-FFF2-40B4-BE49-F238E27FC236}">
                  <a16:creationId xmlns:a16="http://schemas.microsoft.com/office/drawing/2014/main" id="{A3C6919A-E7BD-EDD9-0810-6AE83B2CCA65}"/>
                </a:ext>
              </a:extLst>
            </p:cNvPr>
            <p:cNvSpPr>
              <a:spLocks noChangeArrowheads="1"/>
            </p:cNvSpPr>
            <p:nvPr/>
          </p:nvSpPr>
          <p:spPr bwMode="auto">
            <a:xfrm>
              <a:off x="3549651" y="722313"/>
              <a:ext cx="71438" cy="73025"/>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Oval 29">
              <a:extLst>
                <a:ext uri="{FF2B5EF4-FFF2-40B4-BE49-F238E27FC236}">
                  <a16:creationId xmlns:a16="http://schemas.microsoft.com/office/drawing/2014/main" id="{273455E4-265F-801F-71D2-64E6F8B53C04}"/>
                </a:ext>
              </a:extLst>
            </p:cNvPr>
            <p:cNvSpPr>
              <a:spLocks noChangeArrowheads="1"/>
            </p:cNvSpPr>
            <p:nvPr/>
          </p:nvSpPr>
          <p:spPr bwMode="auto">
            <a:xfrm>
              <a:off x="3765551" y="965201"/>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Oval 30">
              <a:extLst>
                <a:ext uri="{FF2B5EF4-FFF2-40B4-BE49-F238E27FC236}">
                  <a16:creationId xmlns:a16="http://schemas.microsoft.com/office/drawing/2014/main" id="{4E6B2AEA-AA4E-B728-9B2D-F711B3DB2D2A}"/>
                </a:ext>
              </a:extLst>
            </p:cNvPr>
            <p:cNvSpPr>
              <a:spLocks noChangeArrowheads="1"/>
            </p:cNvSpPr>
            <p:nvPr/>
          </p:nvSpPr>
          <p:spPr bwMode="auto">
            <a:xfrm>
              <a:off x="3656013" y="1157288"/>
              <a:ext cx="74613"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Oval 31">
              <a:extLst>
                <a:ext uri="{FF2B5EF4-FFF2-40B4-BE49-F238E27FC236}">
                  <a16:creationId xmlns:a16="http://schemas.microsoft.com/office/drawing/2014/main" id="{0E89AAC7-5C31-DAC1-1149-78E096F6E3F8}"/>
                </a:ext>
              </a:extLst>
            </p:cNvPr>
            <p:cNvSpPr>
              <a:spLocks noChangeArrowheads="1"/>
            </p:cNvSpPr>
            <p:nvPr/>
          </p:nvSpPr>
          <p:spPr bwMode="auto">
            <a:xfrm>
              <a:off x="3473451" y="855663"/>
              <a:ext cx="76200"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
              <a:extLst>
                <a:ext uri="{FF2B5EF4-FFF2-40B4-BE49-F238E27FC236}">
                  <a16:creationId xmlns:a16="http://schemas.microsoft.com/office/drawing/2014/main" id="{6516DBAF-C8DA-64F7-487F-F502E3613524}"/>
                </a:ext>
              </a:extLst>
            </p:cNvPr>
            <p:cNvSpPr>
              <a:spLocks/>
            </p:cNvSpPr>
            <p:nvPr/>
          </p:nvSpPr>
          <p:spPr bwMode="auto">
            <a:xfrm>
              <a:off x="3473451" y="855663"/>
              <a:ext cx="38100" cy="71438"/>
            </a:xfrm>
            <a:custGeom>
              <a:avLst/>
              <a:gdLst>
                <a:gd name="T0" fmla="*/ 0 w 10"/>
                <a:gd name="T1" fmla="*/ 9 h 19"/>
                <a:gd name="T2" fmla="*/ 10 w 10"/>
                <a:gd name="T3" fmla="*/ 19 h 19"/>
                <a:gd name="T4" fmla="*/ 10 w 10"/>
                <a:gd name="T5" fmla="*/ 0 h 19"/>
                <a:gd name="T6" fmla="*/ 0 w 10"/>
                <a:gd name="T7" fmla="*/ 9 h 19"/>
              </a:gdLst>
              <a:ahLst/>
              <a:cxnLst>
                <a:cxn ang="0">
                  <a:pos x="T0" y="T1"/>
                </a:cxn>
                <a:cxn ang="0">
                  <a:pos x="T2" y="T3"/>
                </a:cxn>
                <a:cxn ang="0">
                  <a:pos x="T4" y="T5"/>
                </a:cxn>
                <a:cxn ang="0">
                  <a:pos x="T6" y="T7"/>
                </a:cxn>
              </a:cxnLst>
              <a:rect l="0" t="0" r="r" b="b"/>
              <a:pathLst>
                <a:path w="10" h="19">
                  <a:moveTo>
                    <a:pt x="0" y="9"/>
                  </a:moveTo>
                  <a:cubicBezTo>
                    <a:pt x="0" y="15"/>
                    <a:pt x="5" y="19"/>
                    <a:pt x="10" y="19"/>
                  </a:cubicBezTo>
                  <a:cubicBezTo>
                    <a:pt x="10" y="0"/>
                    <a:pt x="10" y="0"/>
                    <a:pt x="10" y="0"/>
                  </a:cubicBezTo>
                  <a:cubicBezTo>
                    <a:pt x="5" y="0"/>
                    <a:pt x="0" y="4"/>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7" name="Title 1">
            <a:extLst>
              <a:ext uri="{FF2B5EF4-FFF2-40B4-BE49-F238E27FC236}">
                <a16:creationId xmlns:a16="http://schemas.microsoft.com/office/drawing/2014/main" id="{D5A1711C-EA4E-AB03-51B5-9FFA634A3C07}"/>
              </a:ext>
            </a:extLst>
          </p:cNvPr>
          <p:cNvSpPr>
            <a:spLocks noGrp="1"/>
          </p:cNvSpPr>
          <p:nvPr>
            <p:ph type="title"/>
          </p:nvPr>
        </p:nvSpPr>
        <p:spPr>
          <a:xfrm>
            <a:off x="331073" y="310203"/>
            <a:ext cx="6257304" cy="1404298"/>
          </a:xfrm>
        </p:spPr>
        <p:txBody>
          <a:bodyPr lIns="0" rIns="0">
            <a:normAutofit/>
          </a:bodyPr>
          <a:lstStyle/>
          <a:p>
            <a:r>
              <a:rPr lang="da-DK" b="1">
                <a:solidFill>
                  <a:schemeClr val="tx1">
                    <a:lumMod val="75000"/>
                    <a:lumOff val="25000"/>
                  </a:schemeClr>
                </a:solidFill>
                <a:latin typeface="Segoe UI" panose="020B0502040204020203" pitchFamily="34" charset="0"/>
                <a:cs typeface="Segoe UI" panose="020B0502040204020203" pitchFamily="34" charset="0"/>
              </a:rPr>
              <a:t>Security Considerations</a:t>
            </a:r>
            <a:endParaRPr lang="en-US">
              <a:solidFill>
                <a:schemeClr val="tx1">
                  <a:lumMod val="75000"/>
                  <a:lumOff val="25000"/>
                </a:schemeClr>
              </a:solidFill>
            </a:endParaRPr>
          </a:p>
        </p:txBody>
      </p:sp>
      <p:sp>
        <p:nvSpPr>
          <p:cNvPr id="40" name="Title 1">
            <a:extLst>
              <a:ext uri="{FF2B5EF4-FFF2-40B4-BE49-F238E27FC236}">
                <a16:creationId xmlns:a16="http://schemas.microsoft.com/office/drawing/2014/main" id="{0A3B1769-5403-15C5-3D72-599C323B88E0}"/>
              </a:ext>
            </a:extLst>
          </p:cNvPr>
          <p:cNvSpPr txBox="1">
            <a:spLocks/>
          </p:cNvSpPr>
          <p:nvPr/>
        </p:nvSpPr>
        <p:spPr>
          <a:xfrm>
            <a:off x="509705" y="2936121"/>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a:solidFill>
                  <a:schemeClr val="tx1">
                    <a:lumMod val="75000"/>
                    <a:lumOff val="25000"/>
                  </a:schemeClr>
                </a:solidFill>
                <a:latin typeface="Segoe UI" panose="020B0502040204020203" pitchFamily="34" charset="0"/>
                <a:cs typeface="Segoe UI" panose="020B0502040204020203" pitchFamily="34" charset="0"/>
              </a:rPr>
              <a:t>Use encryption to protect data in transit and at rest, both within the Logic App's endpoint and within the systems and services that the Logic App integrates with.</a:t>
            </a:r>
          </a:p>
        </p:txBody>
      </p:sp>
      <p:sp>
        <p:nvSpPr>
          <p:cNvPr id="46" name="Title 1">
            <a:extLst>
              <a:ext uri="{FF2B5EF4-FFF2-40B4-BE49-F238E27FC236}">
                <a16:creationId xmlns:a16="http://schemas.microsoft.com/office/drawing/2014/main" id="{2FEDF964-A85B-B346-F950-341847D75973}"/>
              </a:ext>
            </a:extLst>
          </p:cNvPr>
          <p:cNvSpPr txBox="1">
            <a:spLocks/>
          </p:cNvSpPr>
          <p:nvPr/>
        </p:nvSpPr>
        <p:spPr>
          <a:xfrm>
            <a:off x="2389306" y="2936121"/>
            <a:ext cx="1750888" cy="215925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a:solidFill>
                  <a:schemeClr val="tx1">
                    <a:lumMod val="75000"/>
                    <a:lumOff val="25000"/>
                  </a:schemeClr>
                </a:solidFill>
                <a:latin typeface="Segoe UI" panose="020B0502040204020203" pitchFamily="34" charset="0"/>
                <a:cs typeface="Segoe UI" panose="020B0502040204020203" pitchFamily="34" charset="0"/>
              </a:rPr>
              <a:t>Use token management to securely store and manage access tokens, and to validate and refresh tokens as needed.</a:t>
            </a:r>
          </a:p>
        </p:txBody>
      </p:sp>
      <p:sp>
        <p:nvSpPr>
          <p:cNvPr id="47" name="Title 1">
            <a:extLst>
              <a:ext uri="{FF2B5EF4-FFF2-40B4-BE49-F238E27FC236}">
                <a16:creationId xmlns:a16="http://schemas.microsoft.com/office/drawing/2014/main" id="{7462E9A1-855B-4F2B-F789-D701D181CB8B}"/>
              </a:ext>
            </a:extLst>
          </p:cNvPr>
          <p:cNvSpPr txBox="1">
            <a:spLocks/>
          </p:cNvSpPr>
          <p:nvPr/>
        </p:nvSpPr>
        <p:spPr>
          <a:xfrm>
            <a:off x="4268906" y="2936121"/>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a:solidFill>
                  <a:schemeClr val="tx1">
                    <a:lumMod val="75000"/>
                    <a:lumOff val="25000"/>
                  </a:schemeClr>
                </a:solidFill>
                <a:latin typeface="Segoe UI" panose="020B0502040204020203" pitchFamily="34" charset="0"/>
                <a:cs typeface="Segoe UI" panose="020B0502040204020203" pitchFamily="34" charset="0"/>
              </a:rPr>
              <a:t>Use key management to securely store and manage encryption keys and other secrets.</a:t>
            </a:r>
          </a:p>
        </p:txBody>
      </p:sp>
      <p:grpSp>
        <p:nvGrpSpPr>
          <p:cNvPr id="48" name="Group 47">
            <a:extLst>
              <a:ext uri="{FF2B5EF4-FFF2-40B4-BE49-F238E27FC236}">
                <a16:creationId xmlns:a16="http://schemas.microsoft.com/office/drawing/2014/main" id="{D8CCE5B2-422A-34E2-0363-192570367020}"/>
              </a:ext>
            </a:extLst>
          </p:cNvPr>
          <p:cNvGrpSpPr/>
          <p:nvPr/>
        </p:nvGrpSpPr>
        <p:grpSpPr>
          <a:xfrm>
            <a:off x="2490422" y="2531988"/>
            <a:ext cx="270746" cy="158632"/>
            <a:chOff x="4113213" y="4046538"/>
            <a:chExt cx="360363" cy="211138"/>
          </a:xfrm>
          <a:solidFill>
            <a:schemeClr val="bg1"/>
          </a:solidFill>
        </p:grpSpPr>
        <p:sp>
          <p:nvSpPr>
            <p:cNvPr id="49" name="Freeform 84">
              <a:extLst>
                <a:ext uri="{FF2B5EF4-FFF2-40B4-BE49-F238E27FC236}">
                  <a16:creationId xmlns:a16="http://schemas.microsoft.com/office/drawing/2014/main" id="{0345977D-C330-FE2B-76D2-1C5E6C8DDF61}"/>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85">
              <a:extLst>
                <a:ext uri="{FF2B5EF4-FFF2-40B4-BE49-F238E27FC236}">
                  <a16:creationId xmlns:a16="http://schemas.microsoft.com/office/drawing/2014/main" id="{1143C7D8-C4D0-7F65-E264-0420F6DBD4B1}"/>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1" name="Group 50">
            <a:extLst>
              <a:ext uri="{FF2B5EF4-FFF2-40B4-BE49-F238E27FC236}">
                <a16:creationId xmlns:a16="http://schemas.microsoft.com/office/drawing/2014/main" id="{FCB9AD6B-FF0E-C08D-B017-2640938FBE6C}"/>
              </a:ext>
            </a:extLst>
          </p:cNvPr>
          <p:cNvGrpSpPr/>
          <p:nvPr/>
        </p:nvGrpSpPr>
        <p:grpSpPr>
          <a:xfrm>
            <a:off x="4382329" y="2496912"/>
            <a:ext cx="246133" cy="228785"/>
            <a:chOff x="6276975" y="3981450"/>
            <a:chExt cx="360363" cy="334963"/>
          </a:xfrm>
          <a:solidFill>
            <a:schemeClr val="bg1"/>
          </a:solidFill>
        </p:grpSpPr>
        <p:sp>
          <p:nvSpPr>
            <p:cNvPr id="52" name="Freeform 98">
              <a:extLst>
                <a:ext uri="{FF2B5EF4-FFF2-40B4-BE49-F238E27FC236}">
                  <a16:creationId xmlns:a16="http://schemas.microsoft.com/office/drawing/2014/main" id="{34B46FDF-B517-F6E8-5908-73A398BDF675}"/>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99">
              <a:extLst>
                <a:ext uri="{FF2B5EF4-FFF2-40B4-BE49-F238E27FC236}">
                  <a16:creationId xmlns:a16="http://schemas.microsoft.com/office/drawing/2014/main" id="{B81A2ABF-2C13-8DA5-1849-9300FEA5D0F1}"/>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100">
              <a:extLst>
                <a:ext uri="{FF2B5EF4-FFF2-40B4-BE49-F238E27FC236}">
                  <a16:creationId xmlns:a16="http://schemas.microsoft.com/office/drawing/2014/main" id="{188142B8-9DA6-69C3-3712-6997F875C64E}"/>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101">
              <a:extLst>
                <a:ext uri="{FF2B5EF4-FFF2-40B4-BE49-F238E27FC236}">
                  <a16:creationId xmlns:a16="http://schemas.microsoft.com/office/drawing/2014/main" id="{0308BC60-FE0D-BF27-7E6C-5DC101ECAAD7}"/>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6" name="Freeform 69">
            <a:extLst>
              <a:ext uri="{FF2B5EF4-FFF2-40B4-BE49-F238E27FC236}">
                <a16:creationId xmlns:a16="http://schemas.microsoft.com/office/drawing/2014/main" id="{B84E07DE-30CE-166F-0CE5-5A9A6D9C4FD2}"/>
              </a:ext>
            </a:extLst>
          </p:cNvPr>
          <p:cNvSpPr>
            <a:spLocks noEditPoints="1"/>
          </p:cNvSpPr>
          <p:nvPr/>
        </p:nvSpPr>
        <p:spPr bwMode="auto">
          <a:xfrm>
            <a:off x="548837" y="2486612"/>
            <a:ext cx="248302" cy="249385"/>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Rectangle 62">
            <a:extLst>
              <a:ext uri="{FF2B5EF4-FFF2-40B4-BE49-F238E27FC236}">
                <a16:creationId xmlns:a16="http://schemas.microsoft.com/office/drawing/2014/main" id="{7F65D130-12D2-76D5-ABCC-87909787C1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5582E6B3-FD70-3573-553C-FD29E52DFD11}"/>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ide Number Placeholder 5">
            <a:extLst>
              <a:ext uri="{FF2B5EF4-FFF2-40B4-BE49-F238E27FC236}">
                <a16:creationId xmlns:a16="http://schemas.microsoft.com/office/drawing/2014/main" id="{9BED7071-EC15-EC52-EBC4-085BB4472751}"/>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43</a:t>
            </a:fld>
            <a:endParaRPr lang="en-US"/>
          </a:p>
        </p:txBody>
      </p:sp>
      <p:cxnSp>
        <p:nvCxnSpPr>
          <p:cNvPr id="70" name="Straight Connector 69">
            <a:extLst>
              <a:ext uri="{FF2B5EF4-FFF2-40B4-BE49-F238E27FC236}">
                <a16:creationId xmlns:a16="http://schemas.microsoft.com/office/drawing/2014/main" id="{C2EB55CA-C3D8-1573-4BCC-D3264B93E9CF}"/>
              </a:ext>
            </a:extLst>
          </p:cNvPr>
          <p:cNvCxnSpPr>
            <a:cxnSpLocks/>
          </p:cNvCxnSpPr>
          <p:nvPr/>
        </p:nvCxnSpPr>
        <p:spPr>
          <a:xfrm>
            <a:off x="860258" y="2800836"/>
            <a:ext cx="137120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E68954B-B148-3455-4BB8-0C7F7548EB79}"/>
              </a:ext>
            </a:extLst>
          </p:cNvPr>
          <p:cNvCxnSpPr>
            <a:cxnSpLocks/>
          </p:cNvCxnSpPr>
          <p:nvPr/>
        </p:nvCxnSpPr>
        <p:spPr>
          <a:xfrm>
            <a:off x="2872813" y="2800836"/>
            <a:ext cx="12001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71D9A31-9FB6-3DC0-FCA2-10DB6A73083D}"/>
              </a:ext>
            </a:extLst>
          </p:cNvPr>
          <p:cNvCxnSpPr>
            <a:cxnSpLocks/>
          </p:cNvCxnSpPr>
          <p:nvPr/>
        </p:nvCxnSpPr>
        <p:spPr>
          <a:xfrm>
            <a:off x="4822263" y="2800836"/>
            <a:ext cx="12001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red and blue text on a black background&#10;&#10;Description automatically generated">
            <a:extLst>
              <a:ext uri="{FF2B5EF4-FFF2-40B4-BE49-F238E27FC236}">
                <a16:creationId xmlns:a16="http://schemas.microsoft.com/office/drawing/2014/main" id="{6F2F3C5A-ECD9-5F61-341F-E3212452F9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139" y="5546590"/>
            <a:ext cx="1796021" cy="1796021"/>
          </a:xfrm>
          <a:prstGeom prst="rect">
            <a:avLst/>
          </a:prstGeom>
        </p:spPr>
      </p:pic>
      <p:pic>
        <p:nvPicPr>
          <p:cNvPr id="7" name="Picture 6" descr="A pink toy block on a black background">
            <a:extLst>
              <a:ext uri="{FF2B5EF4-FFF2-40B4-BE49-F238E27FC236}">
                <a16:creationId xmlns:a16="http://schemas.microsoft.com/office/drawing/2014/main" id="{4C33AD99-F060-A212-F66F-75BA937C690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283745" y="3127818"/>
            <a:ext cx="2106307" cy="2106307"/>
          </a:xfrm>
          <a:prstGeom prst="rect">
            <a:avLst/>
          </a:prstGeom>
        </p:spPr>
      </p:pic>
      <p:pic>
        <p:nvPicPr>
          <p:cNvPr id="2" name="Picture 1">
            <a:extLst>
              <a:ext uri="{FF2B5EF4-FFF2-40B4-BE49-F238E27FC236}">
                <a16:creationId xmlns:a16="http://schemas.microsoft.com/office/drawing/2014/main" id="{715C639F-F57F-B541-A4D6-3833350B4D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7471475" y="-1059908"/>
            <a:ext cx="3118040" cy="7331223"/>
          </a:xfrm>
          <a:prstGeom prst="rect">
            <a:avLst/>
          </a:prstGeom>
        </p:spPr>
      </p:pic>
      <p:sp>
        <p:nvSpPr>
          <p:cNvPr id="5" name="Title 1">
            <a:extLst>
              <a:ext uri="{FF2B5EF4-FFF2-40B4-BE49-F238E27FC236}">
                <a16:creationId xmlns:a16="http://schemas.microsoft.com/office/drawing/2014/main" id="{4FCEA85E-FC6A-D695-97BF-E97B32442634}"/>
              </a:ext>
            </a:extLst>
          </p:cNvPr>
          <p:cNvSpPr txBox="1">
            <a:spLocks/>
          </p:cNvSpPr>
          <p:nvPr/>
        </p:nvSpPr>
        <p:spPr>
          <a:xfrm>
            <a:off x="934922" y="2443313"/>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Encryption</a:t>
            </a:r>
          </a:p>
        </p:txBody>
      </p:sp>
      <p:sp>
        <p:nvSpPr>
          <p:cNvPr id="6" name="Title 1">
            <a:extLst>
              <a:ext uri="{FF2B5EF4-FFF2-40B4-BE49-F238E27FC236}">
                <a16:creationId xmlns:a16="http://schemas.microsoft.com/office/drawing/2014/main" id="{2561FE48-C7F2-9FD7-FE94-B3F3946336D4}"/>
              </a:ext>
            </a:extLst>
          </p:cNvPr>
          <p:cNvSpPr txBox="1">
            <a:spLocks/>
          </p:cNvSpPr>
          <p:nvPr/>
        </p:nvSpPr>
        <p:spPr>
          <a:xfrm>
            <a:off x="2916035" y="2434288"/>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Token </a:t>
            </a:r>
            <a:r>
              <a:rPr lang="en-US" sz="1600" b="1" err="1">
                <a:solidFill>
                  <a:schemeClr val="tx1">
                    <a:lumMod val="75000"/>
                    <a:lumOff val="25000"/>
                  </a:schemeClr>
                </a:solidFill>
                <a:latin typeface="Segoe UI" panose="020B0502040204020203" pitchFamily="34" charset="0"/>
                <a:cs typeface="Segoe UI" panose="020B0502040204020203" pitchFamily="34" charset="0"/>
              </a:rPr>
              <a:t>Mgmt</a:t>
            </a:r>
            <a:endParaRPr lang="en-US" sz="16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85D544A3-6B9E-D3B5-425E-452C2BFADE4E}"/>
              </a:ext>
            </a:extLst>
          </p:cNvPr>
          <p:cNvSpPr txBox="1">
            <a:spLocks/>
          </p:cNvSpPr>
          <p:nvPr/>
        </p:nvSpPr>
        <p:spPr>
          <a:xfrm>
            <a:off x="4792546" y="2434287"/>
            <a:ext cx="1513854" cy="4135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a:solidFill>
                  <a:schemeClr val="tx1">
                    <a:lumMod val="75000"/>
                    <a:lumOff val="25000"/>
                  </a:schemeClr>
                </a:solidFill>
                <a:latin typeface="Segoe UI" panose="020B0502040204020203" pitchFamily="34" charset="0"/>
                <a:cs typeface="Segoe UI" panose="020B0502040204020203" pitchFamily="34" charset="0"/>
              </a:rPr>
              <a:t>Key </a:t>
            </a:r>
            <a:r>
              <a:rPr lang="en-US" sz="1600" b="1" err="1">
                <a:solidFill>
                  <a:schemeClr val="tx1">
                    <a:lumMod val="75000"/>
                    <a:lumOff val="25000"/>
                  </a:schemeClr>
                </a:solidFill>
                <a:latin typeface="Segoe UI" panose="020B0502040204020203" pitchFamily="34" charset="0"/>
                <a:cs typeface="Segoe UI" panose="020B0502040204020203" pitchFamily="34" charset="0"/>
              </a:rPr>
              <a:t>Mgmt</a:t>
            </a:r>
            <a:endParaRPr lang="en-US" sz="1600" b="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F918260D-81DD-3E3F-3EC7-01EDF15CD32F}"/>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314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201E4-5393-5296-0708-EC93698F02EF}"/>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BD7652F-93FA-DD51-2646-83A3C12A6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9BD7652F-93FA-DD51-2646-83A3C12A64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2C64EB9-EC6E-1A9F-1FB3-CA6C5D896D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8" name="Rectángulo 6175">
            <a:extLst>
              <a:ext uri="{FF2B5EF4-FFF2-40B4-BE49-F238E27FC236}">
                <a16:creationId xmlns:a16="http://schemas.microsoft.com/office/drawing/2014/main" id="{C5DFEAAB-2B75-0899-9AE4-A8AE52E1CB9B}"/>
              </a:ext>
            </a:extLst>
          </p:cNvPr>
          <p:cNvSpPr/>
          <p:nvPr/>
        </p:nvSpPr>
        <p:spPr>
          <a:xfrm>
            <a:off x="0" y="-36681"/>
            <a:ext cx="12214702" cy="2144432"/>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4C7AA588-07CE-B46E-512B-2D5FD70AEC7D}"/>
              </a:ext>
            </a:extLst>
          </p:cNvPr>
          <p:cNvGrpSpPr/>
          <p:nvPr/>
        </p:nvGrpSpPr>
        <p:grpSpPr>
          <a:xfrm>
            <a:off x="-7887" y="2079388"/>
            <a:ext cx="12214702" cy="464457"/>
            <a:chOff x="16177" y="-27807"/>
            <a:chExt cx="12214702" cy="464457"/>
          </a:xfrm>
          <a:solidFill>
            <a:srgbClr val="D01012"/>
          </a:solidFill>
        </p:grpSpPr>
        <p:sp>
          <p:nvSpPr>
            <p:cNvPr id="23" name="任意多边形: 形状 16">
              <a:extLst>
                <a:ext uri="{FF2B5EF4-FFF2-40B4-BE49-F238E27FC236}">
                  <a16:creationId xmlns:a16="http://schemas.microsoft.com/office/drawing/2014/main" id="{5878D1E3-6A76-57D0-2E36-3664BA3D41D4}"/>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任意多边形: 形状 16">
              <a:extLst>
                <a:ext uri="{FF2B5EF4-FFF2-40B4-BE49-F238E27FC236}">
                  <a16:creationId xmlns:a16="http://schemas.microsoft.com/office/drawing/2014/main" id="{A3274C50-4AA8-7422-D70E-AD822A24D1BB}"/>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16">
              <a:extLst>
                <a:ext uri="{FF2B5EF4-FFF2-40B4-BE49-F238E27FC236}">
                  <a16:creationId xmlns:a16="http://schemas.microsoft.com/office/drawing/2014/main" id="{212696D7-4285-BADB-81BB-BE9EAD3042AE}"/>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16">
              <a:extLst>
                <a:ext uri="{FF2B5EF4-FFF2-40B4-BE49-F238E27FC236}">
                  <a16:creationId xmlns:a16="http://schemas.microsoft.com/office/drawing/2014/main" id="{01BC8CB0-1DB8-C16A-B4CD-134ACF6A32A4}"/>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Freeform: Shape 26">
              <a:extLst>
                <a:ext uri="{FF2B5EF4-FFF2-40B4-BE49-F238E27FC236}">
                  <a16:creationId xmlns:a16="http://schemas.microsoft.com/office/drawing/2014/main" id="{09EF160F-D5AC-6769-7F2E-F3BC9C3E78BB}"/>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4" name="Slide Number Placeholder 3">
            <a:extLst>
              <a:ext uri="{FF2B5EF4-FFF2-40B4-BE49-F238E27FC236}">
                <a16:creationId xmlns:a16="http://schemas.microsoft.com/office/drawing/2014/main" id="{30D7524E-09A2-26CE-2DDF-4B304D4B5200}"/>
              </a:ext>
            </a:extLst>
          </p:cNvPr>
          <p:cNvSpPr>
            <a:spLocks noGrp="1"/>
          </p:cNvSpPr>
          <p:nvPr>
            <p:ph type="sldNum" sz="quarter" idx="12"/>
          </p:nvPr>
        </p:nvSpPr>
        <p:spPr/>
        <p:txBody>
          <a:bodyPr/>
          <a:lstStyle/>
          <a:p>
            <a:fld id="{8D05A9CD-9176-4D89-A414-3BEEE81BBC77}" type="slidenum">
              <a:rPr lang="en-US" smtClean="0"/>
              <a:pPr/>
              <a:t>44</a:t>
            </a:fld>
            <a:endParaRPr lang="en-US"/>
          </a:p>
        </p:txBody>
      </p:sp>
      <p:sp>
        <p:nvSpPr>
          <p:cNvPr id="12" name="Title 1">
            <a:extLst>
              <a:ext uri="{FF2B5EF4-FFF2-40B4-BE49-F238E27FC236}">
                <a16:creationId xmlns:a16="http://schemas.microsoft.com/office/drawing/2014/main" id="{6C75F0DF-5716-60E5-84C5-FAD1897738BB}"/>
              </a:ext>
            </a:extLst>
          </p:cNvPr>
          <p:cNvSpPr>
            <a:spLocks noGrp="1"/>
          </p:cNvSpPr>
          <p:nvPr>
            <p:ph type="title"/>
          </p:nvPr>
        </p:nvSpPr>
        <p:spPr>
          <a:xfrm>
            <a:off x="126578" y="-8476"/>
            <a:ext cx="4154231" cy="1817735"/>
          </a:xfrm>
        </p:spPr>
        <p:txBody>
          <a:bodyPr anchor="b" anchorCtr="0">
            <a:noAutofit/>
          </a:bodyPr>
          <a:lstStyle/>
          <a:p>
            <a:r>
              <a:rPr lang="da-DK" b="1">
                <a:solidFill>
                  <a:schemeClr val="bg1"/>
                </a:solidFill>
                <a:latin typeface="Segoe UI" panose="020B0502040204020203" pitchFamily="34" charset="0"/>
                <a:cs typeface="Segoe UI" panose="020B0502040204020203" pitchFamily="34" charset="0"/>
              </a:rPr>
              <a:t>Security Considerations</a:t>
            </a:r>
            <a:endParaRPr lang="en-US">
              <a:solidFill>
                <a:schemeClr val="bg1"/>
              </a:solidFill>
            </a:endParaRPr>
          </a:p>
        </p:txBody>
      </p:sp>
      <p:sp>
        <p:nvSpPr>
          <p:cNvPr id="14" name="Freeform 46">
            <a:extLst>
              <a:ext uri="{FF2B5EF4-FFF2-40B4-BE49-F238E27FC236}">
                <a16:creationId xmlns:a16="http://schemas.microsoft.com/office/drawing/2014/main" id="{88F49AFB-D957-EA4A-E9E2-607C35F2B05E}"/>
              </a:ext>
            </a:extLst>
          </p:cNvPr>
          <p:cNvSpPr/>
          <p:nvPr/>
        </p:nvSpPr>
        <p:spPr>
          <a:xfrm>
            <a:off x="4366353" y="998620"/>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89E95C9F-1BCF-52C3-4079-71EF88540851}"/>
              </a:ext>
            </a:extLst>
          </p:cNvPr>
          <p:cNvSpPr/>
          <p:nvPr/>
        </p:nvSpPr>
        <p:spPr>
          <a:xfrm>
            <a:off x="6857972" y="998620"/>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EF5092E9-2A4C-B9F6-2DD7-887C39426346}"/>
              </a:ext>
            </a:extLst>
          </p:cNvPr>
          <p:cNvSpPr/>
          <p:nvPr/>
        </p:nvSpPr>
        <p:spPr>
          <a:xfrm>
            <a:off x="9349590" y="998620"/>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1" name="Straight Connector 20">
            <a:extLst>
              <a:ext uri="{FF2B5EF4-FFF2-40B4-BE49-F238E27FC236}">
                <a16:creationId xmlns:a16="http://schemas.microsoft.com/office/drawing/2014/main" id="{50A2ED08-BD74-D4BF-174C-E0B9B33A3230}"/>
              </a:ext>
            </a:extLst>
          </p:cNvPr>
          <p:cNvCxnSpPr/>
          <p:nvPr/>
        </p:nvCxnSpPr>
        <p:spPr>
          <a:xfrm>
            <a:off x="3609474" y="5859379"/>
            <a:ext cx="80130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E6DC6437-6525-F58B-0CAC-297839E4B422}"/>
              </a:ext>
            </a:extLst>
          </p:cNvPr>
          <p:cNvSpPr txBox="1">
            <a:spLocks/>
          </p:cNvSpPr>
          <p:nvPr/>
        </p:nvSpPr>
        <p:spPr>
          <a:xfrm>
            <a:off x="4502129" y="185302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monitoring and logging to detect and respond to security incidents, and to improve security over time.</a:t>
            </a:r>
          </a:p>
        </p:txBody>
      </p:sp>
      <p:sp>
        <p:nvSpPr>
          <p:cNvPr id="34" name="Title 1">
            <a:extLst>
              <a:ext uri="{FF2B5EF4-FFF2-40B4-BE49-F238E27FC236}">
                <a16:creationId xmlns:a16="http://schemas.microsoft.com/office/drawing/2014/main" id="{5630FAFD-AC72-6FF3-4CB4-D3AF59488DED}"/>
              </a:ext>
            </a:extLst>
          </p:cNvPr>
          <p:cNvSpPr txBox="1">
            <a:spLocks/>
          </p:cNvSpPr>
          <p:nvPr/>
        </p:nvSpPr>
        <p:spPr>
          <a:xfrm>
            <a:off x="4502129" y="122574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Monitoring and Logging </a:t>
            </a:r>
          </a:p>
        </p:txBody>
      </p:sp>
      <p:sp>
        <p:nvSpPr>
          <p:cNvPr id="35" name="Title 1">
            <a:extLst>
              <a:ext uri="{FF2B5EF4-FFF2-40B4-BE49-F238E27FC236}">
                <a16:creationId xmlns:a16="http://schemas.microsoft.com/office/drawing/2014/main" id="{B3141B7B-324C-987D-E1FF-1D640D7B0CE4}"/>
              </a:ext>
            </a:extLst>
          </p:cNvPr>
          <p:cNvSpPr txBox="1">
            <a:spLocks/>
          </p:cNvSpPr>
          <p:nvPr/>
        </p:nvSpPr>
        <p:spPr>
          <a:xfrm>
            <a:off x="6993748" y="122574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Vulnerability Management</a:t>
            </a:r>
          </a:p>
        </p:txBody>
      </p:sp>
      <p:sp>
        <p:nvSpPr>
          <p:cNvPr id="36" name="Title 1">
            <a:extLst>
              <a:ext uri="{FF2B5EF4-FFF2-40B4-BE49-F238E27FC236}">
                <a16:creationId xmlns:a16="http://schemas.microsoft.com/office/drawing/2014/main" id="{B6FACA66-5DA4-50B8-BE17-8BB2494D55D7}"/>
              </a:ext>
            </a:extLst>
          </p:cNvPr>
          <p:cNvSpPr txBox="1">
            <a:spLocks/>
          </p:cNvSpPr>
          <p:nvPr/>
        </p:nvSpPr>
        <p:spPr>
          <a:xfrm>
            <a:off x="9485366" y="1225740"/>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a:solidFill>
                  <a:schemeClr val="tx1">
                    <a:lumMod val="75000"/>
                    <a:lumOff val="25000"/>
                  </a:schemeClr>
                </a:solidFill>
                <a:latin typeface="Segoe UI" panose="020B0502040204020203" pitchFamily="34" charset="0"/>
                <a:cs typeface="Segoe UI" panose="020B0502040204020203" pitchFamily="34" charset="0"/>
              </a:rPr>
              <a:t>Compliance</a:t>
            </a:r>
          </a:p>
        </p:txBody>
      </p:sp>
      <p:sp>
        <p:nvSpPr>
          <p:cNvPr id="37" name="Title 1">
            <a:extLst>
              <a:ext uri="{FF2B5EF4-FFF2-40B4-BE49-F238E27FC236}">
                <a16:creationId xmlns:a16="http://schemas.microsoft.com/office/drawing/2014/main" id="{AE158703-16F0-F99C-3BB1-444E9E29B40E}"/>
              </a:ext>
            </a:extLst>
          </p:cNvPr>
          <p:cNvSpPr txBox="1">
            <a:spLocks/>
          </p:cNvSpPr>
          <p:nvPr/>
        </p:nvSpPr>
        <p:spPr>
          <a:xfrm>
            <a:off x="6993748" y="185302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Use vulnerability management to identify and address security vulnerabilities in the Logic App's endpoint and in the systems and services that the Logic App integrates with.</a:t>
            </a:r>
          </a:p>
        </p:txBody>
      </p:sp>
      <p:sp>
        <p:nvSpPr>
          <p:cNvPr id="38" name="Title 1">
            <a:extLst>
              <a:ext uri="{FF2B5EF4-FFF2-40B4-BE49-F238E27FC236}">
                <a16:creationId xmlns:a16="http://schemas.microsoft.com/office/drawing/2014/main" id="{E293C5C3-08DB-8607-356C-299537FF5AD3}"/>
              </a:ext>
            </a:extLst>
          </p:cNvPr>
          <p:cNvSpPr txBox="1">
            <a:spLocks/>
          </p:cNvSpPr>
          <p:nvPr/>
        </p:nvSpPr>
        <p:spPr>
          <a:xfrm>
            <a:off x="9485366" y="1853029"/>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Make sure that your integration meets the compliance requirements of your organization, and the industry standards.</a:t>
            </a:r>
          </a:p>
        </p:txBody>
      </p:sp>
      <p:sp>
        <p:nvSpPr>
          <p:cNvPr id="39" name="Title 1">
            <a:extLst>
              <a:ext uri="{FF2B5EF4-FFF2-40B4-BE49-F238E27FC236}">
                <a16:creationId xmlns:a16="http://schemas.microsoft.com/office/drawing/2014/main" id="{C85AC41C-C12C-F1A5-B205-25280C5BDD30}"/>
              </a:ext>
            </a:extLst>
          </p:cNvPr>
          <p:cNvSpPr txBox="1">
            <a:spLocks/>
          </p:cNvSpPr>
          <p:nvPr/>
        </p:nvSpPr>
        <p:spPr>
          <a:xfrm>
            <a:off x="4502129" y="3318293"/>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Real time monitoring</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Log analytics</a:t>
            </a:r>
          </a:p>
        </p:txBody>
      </p:sp>
      <p:sp>
        <p:nvSpPr>
          <p:cNvPr id="42" name="Title 1">
            <a:extLst>
              <a:ext uri="{FF2B5EF4-FFF2-40B4-BE49-F238E27FC236}">
                <a16:creationId xmlns:a16="http://schemas.microsoft.com/office/drawing/2014/main" id="{BFA04C53-76F9-02BE-C516-F55724C87CC6}"/>
              </a:ext>
            </a:extLst>
          </p:cNvPr>
          <p:cNvSpPr txBox="1">
            <a:spLocks/>
          </p:cNvSpPr>
          <p:nvPr/>
        </p:nvSpPr>
        <p:spPr>
          <a:xfrm>
            <a:off x="6981213" y="3718716"/>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Regular assessments</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Patch management</a:t>
            </a:r>
          </a:p>
        </p:txBody>
      </p:sp>
      <p:sp>
        <p:nvSpPr>
          <p:cNvPr id="43" name="Title 1">
            <a:extLst>
              <a:ext uri="{FF2B5EF4-FFF2-40B4-BE49-F238E27FC236}">
                <a16:creationId xmlns:a16="http://schemas.microsoft.com/office/drawing/2014/main" id="{2B18CBDB-0200-8649-3A37-B16CFA168F75}"/>
              </a:ext>
            </a:extLst>
          </p:cNvPr>
          <p:cNvSpPr txBox="1">
            <a:spLocks/>
          </p:cNvSpPr>
          <p:nvPr/>
        </p:nvSpPr>
        <p:spPr>
          <a:xfrm>
            <a:off x="9485366" y="3318293"/>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Compliance audits</a:t>
            </a:r>
          </a:p>
          <a:p>
            <a:pPr marL="180000" indent="-180000">
              <a:lnSpc>
                <a:spcPct val="100000"/>
              </a:lnSpc>
              <a:spcAft>
                <a:spcPts val="600"/>
              </a:spcAft>
              <a:buFont typeface="Arial" panose="020B0604020202020204" pitchFamily="34" charset="0"/>
              <a:buChar char="•"/>
            </a:pPr>
            <a:r>
              <a:rPr lang="en-US" sz="1400">
                <a:solidFill>
                  <a:schemeClr val="tx1">
                    <a:lumMod val="75000"/>
                    <a:lumOff val="25000"/>
                  </a:schemeClr>
                </a:solidFill>
                <a:latin typeface="Segoe UI" panose="020B0502040204020203" pitchFamily="34" charset="0"/>
                <a:cs typeface="Segoe UI" panose="020B0502040204020203" pitchFamily="34" charset="0"/>
              </a:rPr>
              <a:t>Data protection (GDPR, HIPPA, ITAR are examples)</a:t>
            </a:r>
          </a:p>
        </p:txBody>
      </p:sp>
      <p:grpSp>
        <p:nvGrpSpPr>
          <p:cNvPr id="44" name="Group 43">
            <a:extLst>
              <a:ext uri="{FF2B5EF4-FFF2-40B4-BE49-F238E27FC236}">
                <a16:creationId xmlns:a16="http://schemas.microsoft.com/office/drawing/2014/main" id="{0C9E70E2-627C-E85E-06A3-0C578A4978AC}"/>
              </a:ext>
            </a:extLst>
          </p:cNvPr>
          <p:cNvGrpSpPr/>
          <p:nvPr/>
        </p:nvGrpSpPr>
        <p:grpSpPr>
          <a:xfrm>
            <a:off x="5060635" y="4491137"/>
            <a:ext cx="971518" cy="971518"/>
            <a:chOff x="7187500" y="839949"/>
            <a:chExt cx="1422400" cy="1422400"/>
          </a:xfrm>
        </p:grpSpPr>
        <p:sp>
          <p:nvSpPr>
            <p:cNvPr id="45" name="Oval 44">
              <a:extLst>
                <a:ext uri="{FF2B5EF4-FFF2-40B4-BE49-F238E27FC236}">
                  <a16:creationId xmlns:a16="http://schemas.microsoft.com/office/drawing/2014/main" id="{7C884A93-15C1-0175-9126-A3611EAFA756}"/>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27EB00B4-8D12-40C5-3012-06E7F0EB3E29}"/>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B192ACC5-2A36-9403-08CF-BD64D502301A}"/>
              </a:ext>
            </a:extLst>
          </p:cNvPr>
          <p:cNvGrpSpPr/>
          <p:nvPr/>
        </p:nvGrpSpPr>
        <p:grpSpPr>
          <a:xfrm>
            <a:off x="5378354" y="4830400"/>
            <a:ext cx="336080" cy="292993"/>
            <a:chOff x="1216026" y="5511800"/>
            <a:chExt cx="681038" cy="593725"/>
          </a:xfrm>
          <a:effectLst>
            <a:outerShdw dist="38100" dir="2700000" algn="tl" rotWithShape="0">
              <a:prstClr val="black">
                <a:alpha val="20000"/>
              </a:prstClr>
            </a:outerShdw>
          </a:effectLst>
        </p:grpSpPr>
        <p:sp>
          <p:nvSpPr>
            <p:cNvPr id="48" name="Freeform 437">
              <a:extLst>
                <a:ext uri="{FF2B5EF4-FFF2-40B4-BE49-F238E27FC236}">
                  <a16:creationId xmlns:a16="http://schemas.microsoft.com/office/drawing/2014/main" id="{BEF5D204-DF33-3A1A-9CD5-C5B2C4153F81}"/>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438">
              <a:extLst>
                <a:ext uri="{FF2B5EF4-FFF2-40B4-BE49-F238E27FC236}">
                  <a16:creationId xmlns:a16="http://schemas.microsoft.com/office/drawing/2014/main" id="{D4897D1E-0072-B6F1-4D5F-BD68AFDB8815}"/>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439">
              <a:extLst>
                <a:ext uri="{FF2B5EF4-FFF2-40B4-BE49-F238E27FC236}">
                  <a16:creationId xmlns:a16="http://schemas.microsoft.com/office/drawing/2014/main" id="{3AE1CE82-1608-E121-3A78-DA49EE27D48C}"/>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440">
              <a:extLst>
                <a:ext uri="{FF2B5EF4-FFF2-40B4-BE49-F238E27FC236}">
                  <a16:creationId xmlns:a16="http://schemas.microsoft.com/office/drawing/2014/main" id="{E1060D32-5A84-6262-441E-869C91191D00}"/>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Oval 441">
              <a:extLst>
                <a:ext uri="{FF2B5EF4-FFF2-40B4-BE49-F238E27FC236}">
                  <a16:creationId xmlns:a16="http://schemas.microsoft.com/office/drawing/2014/main" id="{541D47C5-F056-1B0B-7E20-85DD58EEB760}"/>
                </a:ext>
              </a:extLst>
            </p:cNvPr>
            <p:cNvSpPr>
              <a:spLocks noChangeArrowheads="1"/>
            </p:cNvSpPr>
            <p:nvPr/>
          </p:nvSpPr>
          <p:spPr bwMode="auto">
            <a:xfrm>
              <a:off x="1457326" y="5654675"/>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442">
              <a:extLst>
                <a:ext uri="{FF2B5EF4-FFF2-40B4-BE49-F238E27FC236}">
                  <a16:creationId xmlns:a16="http://schemas.microsoft.com/office/drawing/2014/main" id="{696969B0-C219-DE16-2100-E8BCF1AD1C63}"/>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Oval 443">
              <a:extLst>
                <a:ext uri="{FF2B5EF4-FFF2-40B4-BE49-F238E27FC236}">
                  <a16:creationId xmlns:a16="http://schemas.microsoft.com/office/drawing/2014/main" id="{785ACAE1-E139-7C2A-47E9-BDBAFAD4BB49}"/>
                </a:ext>
              </a:extLst>
            </p:cNvPr>
            <p:cNvSpPr>
              <a:spLocks noChangeArrowheads="1"/>
            </p:cNvSpPr>
            <p:nvPr/>
          </p:nvSpPr>
          <p:spPr bwMode="auto">
            <a:xfrm>
              <a:off x="1314451" y="5583238"/>
              <a:ext cx="142875"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444">
              <a:extLst>
                <a:ext uri="{FF2B5EF4-FFF2-40B4-BE49-F238E27FC236}">
                  <a16:creationId xmlns:a16="http://schemas.microsoft.com/office/drawing/2014/main" id="{EDCB1B69-4C5A-C18E-8A1B-13754EF1E70C}"/>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Oval 445">
              <a:extLst>
                <a:ext uri="{FF2B5EF4-FFF2-40B4-BE49-F238E27FC236}">
                  <a16:creationId xmlns:a16="http://schemas.microsoft.com/office/drawing/2014/main" id="{FEB8D81F-C363-64CB-479E-FB601D64BCF0}"/>
                </a:ext>
              </a:extLst>
            </p:cNvPr>
            <p:cNvSpPr>
              <a:spLocks noChangeArrowheads="1"/>
            </p:cNvSpPr>
            <p:nvPr/>
          </p:nvSpPr>
          <p:spPr bwMode="auto">
            <a:xfrm>
              <a:off x="1506538" y="5511800"/>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446">
              <a:extLst>
                <a:ext uri="{FF2B5EF4-FFF2-40B4-BE49-F238E27FC236}">
                  <a16:creationId xmlns:a16="http://schemas.microsoft.com/office/drawing/2014/main" id="{3634A37C-04F5-02AC-E5D1-E4512E4123FF}"/>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Oval 447">
              <a:extLst>
                <a:ext uri="{FF2B5EF4-FFF2-40B4-BE49-F238E27FC236}">
                  <a16:creationId xmlns:a16="http://schemas.microsoft.com/office/drawing/2014/main" id="{AF6AF467-76FC-56BC-04B9-2CB204843738}"/>
                </a:ext>
              </a:extLst>
            </p:cNvPr>
            <p:cNvSpPr>
              <a:spLocks noChangeArrowheads="1"/>
            </p:cNvSpPr>
            <p:nvPr/>
          </p:nvSpPr>
          <p:spPr bwMode="auto">
            <a:xfrm>
              <a:off x="1654176" y="5583238"/>
              <a:ext cx="144463"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5C9DB446-BA14-8860-09E9-A1A16CFE9A7D}"/>
              </a:ext>
            </a:extLst>
          </p:cNvPr>
          <p:cNvGrpSpPr/>
          <p:nvPr/>
        </p:nvGrpSpPr>
        <p:grpSpPr>
          <a:xfrm>
            <a:off x="7552254" y="4491137"/>
            <a:ext cx="971518" cy="971518"/>
            <a:chOff x="7187500" y="839949"/>
            <a:chExt cx="1422400" cy="1422400"/>
          </a:xfrm>
        </p:grpSpPr>
        <p:sp>
          <p:nvSpPr>
            <p:cNvPr id="60" name="Oval 59">
              <a:extLst>
                <a:ext uri="{FF2B5EF4-FFF2-40B4-BE49-F238E27FC236}">
                  <a16:creationId xmlns:a16="http://schemas.microsoft.com/office/drawing/2014/main" id="{4FD13B51-3372-C455-5E01-FB4E2FD2B2F6}"/>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3B62078D-601C-A02A-F45B-09467E16EDE5}"/>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 name="Group 61">
            <a:extLst>
              <a:ext uri="{FF2B5EF4-FFF2-40B4-BE49-F238E27FC236}">
                <a16:creationId xmlns:a16="http://schemas.microsoft.com/office/drawing/2014/main" id="{F47EFD84-6C8F-6F3C-6740-EECEC276DD68}"/>
              </a:ext>
            </a:extLst>
          </p:cNvPr>
          <p:cNvGrpSpPr/>
          <p:nvPr/>
        </p:nvGrpSpPr>
        <p:grpSpPr>
          <a:xfrm>
            <a:off x="7869973" y="4830400"/>
            <a:ext cx="336080" cy="292993"/>
            <a:chOff x="1216026" y="5511800"/>
            <a:chExt cx="681038" cy="593725"/>
          </a:xfrm>
          <a:effectLst>
            <a:outerShdw dist="38100" dir="2700000" algn="tl" rotWithShape="0">
              <a:prstClr val="black">
                <a:alpha val="20000"/>
              </a:prstClr>
            </a:outerShdw>
          </a:effectLst>
        </p:grpSpPr>
        <p:sp>
          <p:nvSpPr>
            <p:cNvPr id="63" name="Freeform 437">
              <a:extLst>
                <a:ext uri="{FF2B5EF4-FFF2-40B4-BE49-F238E27FC236}">
                  <a16:creationId xmlns:a16="http://schemas.microsoft.com/office/drawing/2014/main" id="{5983D0EB-D6F3-CADD-4674-8A696FFFA46A}"/>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438">
              <a:extLst>
                <a:ext uri="{FF2B5EF4-FFF2-40B4-BE49-F238E27FC236}">
                  <a16:creationId xmlns:a16="http://schemas.microsoft.com/office/drawing/2014/main" id="{43FFF97F-05B8-F0E5-559C-E98F0B976728}"/>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439">
              <a:extLst>
                <a:ext uri="{FF2B5EF4-FFF2-40B4-BE49-F238E27FC236}">
                  <a16:creationId xmlns:a16="http://schemas.microsoft.com/office/drawing/2014/main" id="{11D41B31-C5F2-0649-7B64-71EF6E9EF4F3}"/>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440">
              <a:extLst>
                <a:ext uri="{FF2B5EF4-FFF2-40B4-BE49-F238E27FC236}">
                  <a16:creationId xmlns:a16="http://schemas.microsoft.com/office/drawing/2014/main" id="{7229AED3-CC5B-3E41-3612-8B122F9519CA}"/>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Oval 441">
              <a:extLst>
                <a:ext uri="{FF2B5EF4-FFF2-40B4-BE49-F238E27FC236}">
                  <a16:creationId xmlns:a16="http://schemas.microsoft.com/office/drawing/2014/main" id="{08AEF924-092F-64D2-BD45-792EFEC9C539}"/>
                </a:ext>
              </a:extLst>
            </p:cNvPr>
            <p:cNvSpPr>
              <a:spLocks noChangeArrowheads="1"/>
            </p:cNvSpPr>
            <p:nvPr/>
          </p:nvSpPr>
          <p:spPr bwMode="auto">
            <a:xfrm>
              <a:off x="1457326" y="5654675"/>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442">
              <a:extLst>
                <a:ext uri="{FF2B5EF4-FFF2-40B4-BE49-F238E27FC236}">
                  <a16:creationId xmlns:a16="http://schemas.microsoft.com/office/drawing/2014/main" id="{4DBEAD98-3FF2-F0F3-26A9-B56805020EB6}"/>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Oval 443">
              <a:extLst>
                <a:ext uri="{FF2B5EF4-FFF2-40B4-BE49-F238E27FC236}">
                  <a16:creationId xmlns:a16="http://schemas.microsoft.com/office/drawing/2014/main" id="{A4D91BD5-B541-31AD-9C55-31386B5970F3}"/>
                </a:ext>
              </a:extLst>
            </p:cNvPr>
            <p:cNvSpPr>
              <a:spLocks noChangeArrowheads="1"/>
            </p:cNvSpPr>
            <p:nvPr/>
          </p:nvSpPr>
          <p:spPr bwMode="auto">
            <a:xfrm>
              <a:off x="1314451" y="5583238"/>
              <a:ext cx="142875"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444">
              <a:extLst>
                <a:ext uri="{FF2B5EF4-FFF2-40B4-BE49-F238E27FC236}">
                  <a16:creationId xmlns:a16="http://schemas.microsoft.com/office/drawing/2014/main" id="{C6FDABF1-139C-9164-8F09-A616E473220B}"/>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Oval 445">
              <a:extLst>
                <a:ext uri="{FF2B5EF4-FFF2-40B4-BE49-F238E27FC236}">
                  <a16:creationId xmlns:a16="http://schemas.microsoft.com/office/drawing/2014/main" id="{C8117C33-2F88-1AC1-5225-5EF298252E3E}"/>
                </a:ext>
              </a:extLst>
            </p:cNvPr>
            <p:cNvSpPr>
              <a:spLocks noChangeArrowheads="1"/>
            </p:cNvSpPr>
            <p:nvPr/>
          </p:nvSpPr>
          <p:spPr bwMode="auto">
            <a:xfrm>
              <a:off x="1506538" y="5511800"/>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446">
              <a:extLst>
                <a:ext uri="{FF2B5EF4-FFF2-40B4-BE49-F238E27FC236}">
                  <a16:creationId xmlns:a16="http://schemas.microsoft.com/office/drawing/2014/main" id="{33069C0F-F016-ADDC-8429-84E45FE5144B}"/>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Oval 447">
              <a:extLst>
                <a:ext uri="{FF2B5EF4-FFF2-40B4-BE49-F238E27FC236}">
                  <a16:creationId xmlns:a16="http://schemas.microsoft.com/office/drawing/2014/main" id="{B91D5F76-1FCF-A871-7574-47EEE9861471}"/>
                </a:ext>
              </a:extLst>
            </p:cNvPr>
            <p:cNvSpPr>
              <a:spLocks noChangeArrowheads="1"/>
            </p:cNvSpPr>
            <p:nvPr/>
          </p:nvSpPr>
          <p:spPr bwMode="auto">
            <a:xfrm>
              <a:off x="1654176" y="5583238"/>
              <a:ext cx="144463"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1386903D-ABF6-8113-0C0A-6302EA9918D7}"/>
              </a:ext>
            </a:extLst>
          </p:cNvPr>
          <p:cNvGrpSpPr/>
          <p:nvPr/>
        </p:nvGrpSpPr>
        <p:grpSpPr>
          <a:xfrm>
            <a:off x="10043872" y="4491137"/>
            <a:ext cx="971518" cy="971518"/>
            <a:chOff x="7187500" y="839949"/>
            <a:chExt cx="1422400" cy="1422400"/>
          </a:xfrm>
        </p:grpSpPr>
        <p:sp>
          <p:nvSpPr>
            <p:cNvPr id="75" name="Oval 74">
              <a:extLst>
                <a:ext uri="{FF2B5EF4-FFF2-40B4-BE49-F238E27FC236}">
                  <a16:creationId xmlns:a16="http://schemas.microsoft.com/office/drawing/2014/main" id="{F55D79A4-183A-C70A-87C0-5B15D3E9F7CC}"/>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CA8EE286-A648-58DE-14D1-81C170B8099F}"/>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59964DFE-9259-CED8-577D-517176F87CF2}"/>
              </a:ext>
            </a:extLst>
          </p:cNvPr>
          <p:cNvGrpSpPr/>
          <p:nvPr/>
        </p:nvGrpSpPr>
        <p:grpSpPr>
          <a:xfrm>
            <a:off x="10361591" y="4830400"/>
            <a:ext cx="336080" cy="292993"/>
            <a:chOff x="1216026" y="5511800"/>
            <a:chExt cx="681038" cy="593725"/>
          </a:xfrm>
          <a:effectLst>
            <a:outerShdw dist="38100" dir="2700000" algn="tl" rotWithShape="0">
              <a:prstClr val="black">
                <a:alpha val="20000"/>
              </a:prstClr>
            </a:outerShdw>
          </a:effectLst>
        </p:grpSpPr>
        <p:sp>
          <p:nvSpPr>
            <p:cNvPr id="78" name="Freeform 437">
              <a:extLst>
                <a:ext uri="{FF2B5EF4-FFF2-40B4-BE49-F238E27FC236}">
                  <a16:creationId xmlns:a16="http://schemas.microsoft.com/office/drawing/2014/main" id="{10BFD9FA-BF26-2FC6-5450-66B2E6B3DFD9}"/>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438">
              <a:extLst>
                <a:ext uri="{FF2B5EF4-FFF2-40B4-BE49-F238E27FC236}">
                  <a16:creationId xmlns:a16="http://schemas.microsoft.com/office/drawing/2014/main" id="{69D8A1CB-415C-E5D2-52B9-C3CA56E36613}"/>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439">
              <a:extLst>
                <a:ext uri="{FF2B5EF4-FFF2-40B4-BE49-F238E27FC236}">
                  <a16:creationId xmlns:a16="http://schemas.microsoft.com/office/drawing/2014/main" id="{FAA9FE2E-9C6C-FA33-6857-A52BF5C3F2AF}"/>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440">
              <a:extLst>
                <a:ext uri="{FF2B5EF4-FFF2-40B4-BE49-F238E27FC236}">
                  <a16:creationId xmlns:a16="http://schemas.microsoft.com/office/drawing/2014/main" id="{3B45B777-9241-CB03-8FBB-810DCAE30AC3}"/>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Oval 441">
              <a:extLst>
                <a:ext uri="{FF2B5EF4-FFF2-40B4-BE49-F238E27FC236}">
                  <a16:creationId xmlns:a16="http://schemas.microsoft.com/office/drawing/2014/main" id="{E65D3322-D91C-E494-FB75-99FD0B85264C}"/>
                </a:ext>
              </a:extLst>
            </p:cNvPr>
            <p:cNvSpPr>
              <a:spLocks noChangeArrowheads="1"/>
            </p:cNvSpPr>
            <p:nvPr/>
          </p:nvSpPr>
          <p:spPr bwMode="auto">
            <a:xfrm>
              <a:off x="1457326" y="5654675"/>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42">
              <a:extLst>
                <a:ext uri="{FF2B5EF4-FFF2-40B4-BE49-F238E27FC236}">
                  <a16:creationId xmlns:a16="http://schemas.microsoft.com/office/drawing/2014/main" id="{AD6FA6B5-BBCF-6EE4-A3DE-48B48ABC57C6}"/>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Oval 443">
              <a:extLst>
                <a:ext uri="{FF2B5EF4-FFF2-40B4-BE49-F238E27FC236}">
                  <a16:creationId xmlns:a16="http://schemas.microsoft.com/office/drawing/2014/main" id="{612DC49C-D881-A90E-E2E3-10631E3F0EDA}"/>
                </a:ext>
              </a:extLst>
            </p:cNvPr>
            <p:cNvSpPr>
              <a:spLocks noChangeArrowheads="1"/>
            </p:cNvSpPr>
            <p:nvPr/>
          </p:nvSpPr>
          <p:spPr bwMode="auto">
            <a:xfrm>
              <a:off x="1314451" y="5583238"/>
              <a:ext cx="142875"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44">
              <a:extLst>
                <a:ext uri="{FF2B5EF4-FFF2-40B4-BE49-F238E27FC236}">
                  <a16:creationId xmlns:a16="http://schemas.microsoft.com/office/drawing/2014/main" id="{88089049-D478-B86B-1262-C041F816912C}"/>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Oval 445">
              <a:extLst>
                <a:ext uri="{FF2B5EF4-FFF2-40B4-BE49-F238E27FC236}">
                  <a16:creationId xmlns:a16="http://schemas.microsoft.com/office/drawing/2014/main" id="{DB58B299-3084-6A3E-2EF7-BA38564F4118}"/>
                </a:ext>
              </a:extLst>
            </p:cNvPr>
            <p:cNvSpPr>
              <a:spLocks noChangeArrowheads="1"/>
            </p:cNvSpPr>
            <p:nvPr/>
          </p:nvSpPr>
          <p:spPr bwMode="auto">
            <a:xfrm>
              <a:off x="1506538" y="5511800"/>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446">
              <a:extLst>
                <a:ext uri="{FF2B5EF4-FFF2-40B4-BE49-F238E27FC236}">
                  <a16:creationId xmlns:a16="http://schemas.microsoft.com/office/drawing/2014/main" id="{154AE807-A4A8-B20D-4DD0-5847205CF066}"/>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Oval 447">
              <a:extLst>
                <a:ext uri="{FF2B5EF4-FFF2-40B4-BE49-F238E27FC236}">
                  <a16:creationId xmlns:a16="http://schemas.microsoft.com/office/drawing/2014/main" id="{4CF50774-CCF9-474F-3C19-78283534FE2B}"/>
                </a:ext>
              </a:extLst>
            </p:cNvPr>
            <p:cNvSpPr>
              <a:spLocks noChangeArrowheads="1"/>
            </p:cNvSpPr>
            <p:nvPr/>
          </p:nvSpPr>
          <p:spPr bwMode="auto">
            <a:xfrm>
              <a:off x="1654176" y="5583238"/>
              <a:ext cx="144463"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2" name="Group 91">
            <a:extLst>
              <a:ext uri="{FF2B5EF4-FFF2-40B4-BE49-F238E27FC236}">
                <a16:creationId xmlns:a16="http://schemas.microsoft.com/office/drawing/2014/main" id="{1C93715B-256A-9070-359B-0F3A4D1EE068}"/>
              </a:ext>
            </a:extLst>
          </p:cNvPr>
          <p:cNvGrpSpPr/>
          <p:nvPr/>
        </p:nvGrpSpPr>
        <p:grpSpPr>
          <a:xfrm>
            <a:off x="5381425" y="5789087"/>
            <a:ext cx="158851" cy="158851"/>
            <a:chOff x="7187500" y="839949"/>
            <a:chExt cx="1422400" cy="1422400"/>
          </a:xfrm>
        </p:grpSpPr>
        <p:sp>
          <p:nvSpPr>
            <p:cNvPr id="93" name="Oval 92">
              <a:extLst>
                <a:ext uri="{FF2B5EF4-FFF2-40B4-BE49-F238E27FC236}">
                  <a16:creationId xmlns:a16="http://schemas.microsoft.com/office/drawing/2014/main" id="{8610DAFA-6828-2FD8-22D1-D7C6EA91A63D}"/>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78F29D69-F8B4-51AE-CDF2-A351815DF849}"/>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a:extLst>
              <a:ext uri="{FF2B5EF4-FFF2-40B4-BE49-F238E27FC236}">
                <a16:creationId xmlns:a16="http://schemas.microsoft.com/office/drawing/2014/main" id="{0042A838-CE08-7DEC-04AD-B42312186605}"/>
              </a:ext>
            </a:extLst>
          </p:cNvPr>
          <p:cNvGrpSpPr/>
          <p:nvPr/>
        </p:nvGrpSpPr>
        <p:grpSpPr>
          <a:xfrm>
            <a:off x="7873044" y="5789087"/>
            <a:ext cx="158851" cy="158851"/>
            <a:chOff x="7187500" y="839949"/>
            <a:chExt cx="1422400" cy="1422400"/>
          </a:xfrm>
        </p:grpSpPr>
        <p:sp>
          <p:nvSpPr>
            <p:cNvPr id="96" name="Oval 95">
              <a:extLst>
                <a:ext uri="{FF2B5EF4-FFF2-40B4-BE49-F238E27FC236}">
                  <a16:creationId xmlns:a16="http://schemas.microsoft.com/office/drawing/2014/main" id="{181AC993-64AC-4244-1743-E9BFABA3F71D}"/>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438E0672-86ED-26C6-0F14-1BD16D7E8905}"/>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27B53B34-285F-4B25-223D-CBF47EFCBB3B}"/>
              </a:ext>
            </a:extLst>
          </p:cNvPr>
          <p:cNvGrpSpPr/>
          <p:nvPr/>
        </p:nvGrpSpPr>
        <p:grpSpPr>
          <a:xfrm>
            <a:off x="10364662" y="5789087"/>
            <a:ext cx="158851" cy="158851"/>
            <a:chOff x="7187500" y="839949"/>
            <a:chExt cx="1422400" cy="1422400"/>
          </a:xfrm>
        </p:grpSpPr>
        <p:sp>
          <p:nvSpPr>
            <p:cNvPr id="99" name="Oval 98">
              <a:extLst>
                <a:ext uri="{FF2B5EF4-FFF2-40B4-BE49-F238E27FC236}">
                  <a16:creationId xmlns:a16="http://schemas.microsoft.com/office/drawing/2014/main" id="{5CFFDE7E-78E7-4742-1B8C-32F6F3FF3450}"/>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3BDF4B5E-D121-5D9B-EDC1-D56011F47B13}"/>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Picture 1" descr="A red and blue text on a black background&#10;&#10;Description automatically generated">
            <a:extLst>
              <a:ext uri="{FF2B5EF4-FFF2-40B4-BE49-F238E27FC236}">
                <a16:creationId xmlns:a16="http://schemas.microsoft.com/office/drawing/2014/main" id="{AF5BE5F8-31B7-5EC1-4A5A-FE64D527E0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82082" y="5584086"/>
            <a:ext cx="1813024" cy="1813024"/>
          </a:xfrm>
          <a:prstGeom prst="rect">
            <a:avLst/>
          </a:prstGeom>
        </p:spPr>
      </p:pic>
      <p:pic>
        <p:nvPicPr>
          <p:cNvPr id="5" name="Picture 4">
            <a:extLst>
              <a:ext uri="{FF2B5EF4-FFF2-40B4-BE49-F238E27FC236}">
                <a16:creationId xmlns:a16="http://schemas.microsoft.com/office/drawing/2014/main" id="{B6D9EA96-8030-BE35-014F-E21F01C3E6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1044568" y="2141040"/>
            <a:ext cx="3290147" cy="4195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white robot with a black background&#10;&#10;Description automatically generated">
            <a:extLst>
              <a:ext uri="{FF2B5EF4-FFF2-40B4-BE49-F238E27FC236}">
                <a16:creationId xmlns:a16="http://schemas.microsoft.com/office/drawing/2014/main" id="{ABC874AF-C309-9169-BADB-7779E350E5B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3955" y="3429000"/>
            <a:ext cx="3826722" cy="3826722"/>
          </a:xfrm>
          <a:prstGeom prst="rect">
            <a:avLst/>
          </a:prstGeom>
        </p:spPr>
      </p:pic>
      <p:pic>
        <p:nvPicPr>
          <p:cNvPr id="3" name="Picture 2" descr="A pink toy block on a black background">
            <a:extLst>
              <a:ext uri="{FF2B5EF4-FFF2-40B4-BE49-F238E27FC236}">
                <a16:creationId xmlns:a16="http://schemas.microsoft.com/office/drawing/2014/main" id="{D3E8ACFC-39BF-82AD-5CF9-53F693853A5B}"/>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7248618" y="4107022"/>
            <a:ext cx="1565833" cy="1565833"/>
          </a:xfrm>
          <a:prstGeom prst="rect">
            <a:avLst/>
          </a:prstGeom>
        </p:spPr>
      </p:pic>
      <p:pic>
        <p:nvPicPr>
          <p:cNvPr id="8" name="Picture 7" descr="A blue and green lego logo&#10;&#10;Description automatically generated">
            <a:extLst>
              <a:ext uri="{FF2B5EF4-FFF2-40B4-BE49-F238E27FC236}">
                <a16:creationId xmlns:a16="http://schemas.microsoft.com/office/drawing/2014/main" id="{A837BA5A-565C-866F-0680-011567EF6618}"/>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929004" y="4276336"/>
            <a:ext cx="1346281" cy="1346281"/>
          </a:xfrm>
          <a:prstGeom prst="rect">
            <a:avLst/>
          </a:prstGeom>
        </p:spPr>
      </p:pic>
      <p:pic>
        <p:nvPicPr>
          <p:cNvPr id="10" name="Picture 9" descr="A blue and blue lego&#10;&#10;Description automatically generated">
            <a:extLst>
              <a:ext uri="{FF2B5EF4-FFF2-40B4-BE49-F238E27FC236}">
                <a16:creationId xmlns:a16="http://schemas.microsoft.com/office/drawing/2014/main" id="{F5E2A0D1-04E5-3D5B-5CFE-A9EE8DBFDFD0}"/>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9848022" y="4410439"/>
            <a:ext cx="1196293" cy="1196293"/>
          </a:xfrm>
          <a:prstGeom prst="rect">
            <a:avLst/>
          </a:prstGeom>
        </p:spPr>
      </p:pic>
      <p:pic>
        <p:nvPicPr>
          <p:cNvPr id="9" name="Picture 2">
            <a:extLst>
              <a:ext uri="{FF2B5EF4-FFF2-40B4-BE49-F238E27FC236}">
                <a16:creationId xmlns:a16="http://schemas.microsoft.com/office/drawing/2014/main" id="{19D8D173-808F-CE6A-9E64-CF61BC623BF6}"/>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913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1D9DE-FBC9-3531-DA38-A2FD5C928656}"/>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300A5F96-3CB2-42E7-2858-286480420BE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09FF3343-AF5D-A1D4-AF5E-43ED2FC38524}"/>
              </a:ext>
            </a:extLst>
          </p:cNvPr>
          <p:cNvSpPr>
            <a:spLocks noGrp="1"/>
          </p:cNvSpPr>
          <p:nvPr>
            <p:ph idx="1"/>
          </p:nvPr>
        </p:nvSpPr>
        <p:spPr/>
        <p:txBody>
          <a:bodyPr/>
          <a:lstStyle/>
          <a:p>
            <a:r>
              <a:rPr lang="en-GB">
                <a:hlinkClick r:id="rId3"/>
              </a:rPr>
              <a:t>https://azureintegrations.com/</a:t>
            </a:r>
            <a:endParaRPr lang="en-GB"/>
          </a:p>
          <a:p>
            <a:r>
              <a:rPr lang="en-GB">
                <a:hlinkClick r:id="rId4"/>
              </a:rPr>
              <a:t>https://www.atomicax.com/content/odata-experiment-deep-dive-odata-and-how-use-it</a:t>
            </a:r>
            <a:endParaRPr lang="en-GB"/>
          </a:p>
          <a:p>
            <a:r>
              <a:rPr lang="en-GB">
                <a:hlinkClick r:id="rId5"/>
              </a:rPr>
              <a:t>https://dynamics365musings.com/</a:t>
            </a:r>
            <a:endParaRPr lang="en-GB"/>
          </a:p>
          <a:p>
            <a:endParaRPr lang="en-GB"/>
          </a:p>
          <a:p>
            <a:endParaRPr lang="en-GB"/>
          </a:p>
        </p:txBody>
      </p:sp>
      <p:sp>
        <p:nvSpPr>
          <p:cNvPr id="4" name="Slide Number Placeholder 3">
            <a:extLst>
              <a:ext uri="{FF2B5EF4-FFF2-40B4-BE49-F238E27FC236}">
                <a16:creationId xmlns:a16="http://schemas.microsoft.com/office/drawing/2014/main" id="{873812E9-AED6-F4DB-C864-38890AD058F1}"/>
              </a:ext>
            </a:extLst>
          </p:cNvPr>
          <p:cNvSpPr>
            <a:spLocks noGrp="1"/>
          </p:cNvSpPr>
          <p:nvPr>
            <p:ph type="sldNum" sz="quarter" idx="12"/>
          </p:nvPr>
        </p:nvSpPr>
        <p:spPr/>
        <p:txBody>
          <a:bodyPr/>
          <a:lstStyle/>
          <a:p>
            <a:fld id="{8D05A9CD-9176-4D89-A414-3BEEE81BBC77}" type="slidenum">
              <a:rPr lang="en-US" smtClean="0"/>
              <a:pPr/>
              <a:t>45</a:t>
            </a:fld>
            <a:endParaRPr lang="en-US"/>
          </a:p>
        </p:txBody>
      </p:sp>
      <p:sp>
        <p:nvSpPr>
          <p:cNvPr id="16" name="Rectángulo redondeado 14">
            <a:extLst>
              <a:ext uri="{FF2B5EF4-FFF2-40B4-BE49-F238E27FC236}">
                <a16:creationId xmlns:a16="http://schemas.microsoft.com/office/drawing/2014/main" id="{F3C76B6A-C659-24B6-9108-B07D77517474}"/>
              </a:ext>
            </a:extLst>
          </p:cNvPr>
          <p:cNvSpPr/>
          <p:nvPr/>
        </p:nvSpPr>
        <p:spPr>
          <a:xfrm>
            <a:off x="207123" y="215979"/>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D2B63391-0E60-AA09-7B5B-CB70ACC0A419}"/>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References</a:t>
            </a:r>
          </a:p>
        </p:txBody>
      </p:sp>
      <p:pic>
        <p:nvPicPr>
          <p:cNvPr id="2" name="Content Placeholder 11" descr="A logo with a black background">
            <a:extLst>
              <a:ext uri="{FF2B5EF4-FFF2-40B4-BE49-F238E27FC236}">
                <a16:creationId xmlns:a16="http://schemas.microsoft.com/office/drawing/2014/main" id="{EBA31065-1523-45CB-03BE-B2B85C5E776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spTree>
    <p:extLst>
      <p:ext uri="{BB962C8B-B14F-4D97-AF65-F5344CB8AC3E}">
        <p14:creationId xmlns:p14="http://schemas.microsoft.com/office/powerpoint/2010/main" val="26506137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7220C-703E-1810-7B26-49256FB06391}"/>
            </a:ext>
          </a:extLst>
        </p:cNvPr>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E8A50225-E401-0D52-249B-A1D2EBE8428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9D19B2C5-0CE3-847F-36D6-35CD1ABA53DD}"/>
              </a:ext>
            </a:extLst>
          </p:cNvPr>
          <p:cNvSpPr>
            <a:spLocks noGrp="1"/>
          </p:cNvSpPr>
          <p:nvPr>
            <p:ph type="sldNum" sz="quarter" idx="12"/>
          </p:nvPr>
        </p:nvSpPr>
        <p:spPr/>
        <p:txBody>
          <a:bodyPr/>
          <a:lstStyle/>
          <a:p>
            <a:fld id="{8D05A9CD-9176-4D89-A414-3BEEE81BBC77}" type="slidenum">
              <a:rPr lang="en-US" smtClean="0"/>
              <a:pPr/>
              <a:t>46</a:t>
            </a:fld>
            <a:endParaRPr lang="en-US"/>
          </a:p>
        </p:txBody>
      </p:sp>
      <p:sp>
        <p:nvSpPr>
          <p:cNvPr id="16" name="Rectángulo redondeado 14">
            <a:extLst>
              <a:ext uri="{FF2B5EF4-FFF2-40B4-BE49-F238E27FC236}">
                <a16:creationId xmlns:a16="http://schemas.microsoft.com/office/drawing/2014/main" id="{2E0C4492-1A48-201E-E246-DE32207E3EC7}"/>
              </a:ext>
            </a:extLst>
          </p:cNvPr>
          <p:cNvSpPr/>
          <p:nvPr/>
        </p:nvSpPr>
        <p:spPr>
          <a:xfrm>
            <a:off x="1501351" y="2698927"/>
            <a:ext cx="9444878"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E220AC85-C947-42EF-FCA3-5010481D6273}"/>
              </a:ext>
            </a:extLst>
          </p:cNvPr>
          <p:cNvSpPr/>
          <p:nvPr/>
        </p:nvSpPr>
        <p:spPr>
          <a:xfrm>
            <a:off x="1970761" y="2879644"/>
            <a:ext cx="8719887" cy="769441"/>
          </a:xfrm>
          <a:prstGeom prst="rect">
            <a:avLst/>
          </a:prstGeom>
        </p:spPr>
        <p:txBody>
          <a:bodyPr wrap="square" lIns="0" rIns="0" anchor="b" anchorCtr="0">
            <a:spAutoFit/>
          </a:bodyPr>
          <a:lstStyle/>
          <a:p>
            <a:pPr algn="ctr"/>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Questions?</a:t>
            </a:r>
          </a:p>
        </p:txBody>
      </p:sp>
      <p:pic>
        <p:nvPicPr>
          <p:cNvPr id="2" name="Content Placeholder 11" descr="A logo with a black background">
            <a:extLst>
              <a:ext uri="{FF2B5EF4-FFF2-40B4-BE49-F238E27FC236}">
                <a16:creationId xmlns:a16="http://schemas.microsoft.com/office/drawing/2014/main" id="{27770271-A813-BBF4-7354-154F8D01891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50916" y="-84227"/>
            <a:ext cx="3751522" cy="2110231"/>
          </a:xfrm>
          <a:prstGeom prst="rect">
            <a:avLst/>
          </a:prstGeom>
        </p:spPr>
      </p:pic>
      <p:pic>
        <p:nvPicPr>
          <p:cNvPr id="3" name="Picture 2">
            <a:extLst>
              <a:ext uri="{FF2B5EF4-FFF2-40B4-BE49-F238E27FC236}">
                <a16:creationId xmlns:a16="http://schemas.microsoft.com/office/drawing/2014/main" id="{0B28C587-BDD1-36E1-EBA1-721728E89EFF}"/>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98520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E27E1-3E74-41F4-9B2A-BBB3150CD0D9}"/>
            </a:ext>
          </a:extLst>
        </p:cNvPr>
        <p:cNvGrpSpPr/>
        <p:nvPr/>
      </p:nvGrpSpPr>
      <p:grpSpPr>
        <a:xfrm>
          <a:off x="0" y="0"/>
          <a:ext cx="0" cy="0"/>
          <a:chOff x="0" y="0"/>
          <a:chExt cx="0" cy="0"/>
        </a:xfrm>
      </p:grpSpPr>
      <p:sp>
        <p:nvSpPr>
          <p:cNvPr id="23" name="Rectángulo 6175">
            <a:extLst>
              <a:ext uri="{FF2B5EF4-FFF2-40B4-BE49-F238E27FC236}">
                <a16:creationId xmlns:a16="http://schemas.microsoft.com/office/drawing/2014/main" id="{DB47BBB2-1649-9078-2D44-9A4049342B96}"/>
              </a:ext>
            </a:extLst>
          </p:cNvPr>
          <p:cNvSpPr/>
          <p:nvPr/>
        </p:nvSpPr>
        <p:spPr>
          <a:xfrm>
            <a:off x="0" y="-17273"/>
            <a:ext cx="12214702" cy="3442643"/>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white machine made of legos&#10;&#10;Description automatically generated">
            <a:extLst>
              <a:ext uri="{FF2B5EF4-FFF2-40B4-BE49-F238E27FC236}">
                <a16:creationId xmlns:a16="http://schemas.microsoft.com/office/drawing/2014/main" id="{12B7A817-D42B-17BF-70D2-D193F83D56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14" y="7604"/>
            <a:ext cx="12192000" cy="6858000"/>
          </a:xfrm>
          <a:prstGeom prst="rect">
            <a:avLst/>
          </a:prstGeom>
        </p:spPr>
      </p:pic>
      <p:graphicFrame>
        <p:nvGraphicFramePr>
          <p:cNvPr id="7" name="Object 6" hidden="1">
            <a:extLst>
              <a:ext uri="{FF2B5EF4-FFF2-40B4-BE49-F238E27FC236}">
                <a16:creationId xmlns:a16="http://schemas.microsoft.com/office/drawing/2014/main" id="{DCBA8764-16EE-7483-82BD-C1AE478E9E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DCBA8764-16EE-7483-82BD-C1AE478E9E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redondeado 14">
            <a:extLst>
              <a:ext uri="{FF2B5EF4-FFF2-40B4-BE49-F238E27FC236}">
                <a16:creationId xmlns:a16="http://schemas.microsoft.com/office/drawing/2014/main" id="{5FBA8364-B2F6-A840-A40D-7C65DC0F291B}"/>
              </a:ext>
            </a:extLst>
          </p:cNvPr>
          <p:cNvSpPr/>
          <p:nvPr/>
        </p:nvSpPr>
        <p:spPr>
          <a:xfrm>
            <a:off x="834055" y="471948"/>
            <a:ext cx="10523889" cy="5032596"/>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redondeado 14">
            <a:extLst>
              <a:ext uri="{FF2B5EF4-FFF2-40B4-BE49-F238E27FC236}">
                <a16:creationId xmlns:a16="http://schemas.microsoft.com/office/drawing/2014/main" id="{C358450D-6AE2-E958-9EBA-B945CB65DEE5}"/>
              </a:ext>
            </a:extLst>
          </p:cNvPr>
          <p:cNvSpPr/>
          <p:nvPr/>
        </p:nvSpPr>
        <p:spPr>
          <a:xfrm>
            <a:off x="6460791" y="792843"/>
            <a:ext cx="4572268" cy="4385889"/>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FD186B46-ED32-3D70-460B-C3D7BE93CDE1}"/>
              </a:ext>
            </a:extLst>
          </p:cNvPr>
          <p:cNvCxnSpPr>
            <a:cxnSpLocks/>
          </p:cNvCxnSpPr>
          <p:nvPr/>
        </p:nvCxnSpPr>
        <p:spPr>
          <a:xfrm>
            <a:off x="6487094" y="2187087"/>
            <a:ext cx="4343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ángulo redondeado 14">
            <a:extLst>
              <a:ext uri="{FF2B5EF4-FFF2-40B4-BE49-F238E27FC236}">
                <a16:creationId xmlns:a16="http://schemas.microsoft.com/office/drawing/2014/main" id="{4A1117E1-E831-66AC-4233-159F673FE5B9}"/>
              </a:ext>
            </a:extLst>
          </p:cNvPr>
          <p:cNvSpPr/>
          <p:nvPr/>
        </p:nvSpPr>
        <p:spPr>
          <a:xfrm>
            <a:off x="6016819" y="4935544"/>
            <a:ext cx="5919542" cy="1760223"/>
          </a:xfrm>
          <a:prstGeom prst="roundRect">
            <a:avLst>
              <a:gd name="adj" fmla="val 50000"/>
            </a:avLst>
          </a:prstGeom>
          <a:solidFill>
            <a:schemeClr val="accent4"/>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ángulo 12">
            <a:extLst>
              <a:ext uri="{FF2B5EF4-FFF2-40B4-BE49-F238E27FC236}">
                <a16:creationId xmlns:a16="http://schemas.microsoft.com/office/drawing/2014/main" id="{DD06F10E-60BA-C53C-5250-0E203C50AA9E}"/>
              </a:ext>
            </a:extLst>
          </p:cNvPr>
          <p:cNvSpPr/>
          <p:nvPr/>
        </p:nvSpPr>
        <p:spPr>
          <a:xfrm>
            <a:off x="6940568" y="2187087"/>
            <a:ext cx="3723417" cy="2554545"/>
          </a:xfrm>
          <a:prstGeom prst="rect">
            <a:avLst/>
          </a:prstGeom>
        </p:spPr>
        <p:txBody>
          <a:bodyPr wrap="square" lIns="0" rIns="0" anchor="b" anchorCtr="0">
            <a:spAutoFit/>
          </a:bodyPr>
          <a:lstStyle/>
          <a:p>
            <a:pPr algn="ctr"/>
            <a:r>
              <a:rPr lang="en-US" sz="8000" b="1">
                <a:solidFill>
                  <a:schemeClr val="tx1">
                    <a:lumMod val="75000"/>
                    <a:lumOff val="25000"/>
                  </a:schemeClr>
                </a:solidFill>
                <a:latin typeface="Segoe UI" panose="020B0502040204020203" pitchFamily="34" charset="0"/>
                <a:ea typeface="Source Sans Pro Semibold" panose="020B0603030403020204" pitchFamily="34" charset="0"/>
                <a:cs typeface="Segoe UI" panose="020B0502040204020203" pitchFamily="34" charset="0"/>
              </a:rPr>
              <a:t>THANK</a:t>
            </a:r>
            <a:endParaRPr lang="en-US" sz="7200" b="1">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endParaRPr>
          </a:p>
          <a:p>
            <a:pPr algn="ctr"/>
            <a:r>
              <a:rPr lang="en-US" sz="8000" b="1">
                <a:solidFill>
                  <a:srgbClr val="D01012"/>
                </a:solidFill>
                <a:latin typeface="Segoe UI" panose="020B0502040204020203" pitchFamily="34" charset="0"/>
                <a:ea typeface="Source Sans Pro Semibold" panose="020B0603030403020204" pitchFamily="34" charset="0"/>
                <a:cs typeface="Segoe UI" panose="020B0502040204020203" pitchFamily="34" charset="0"/>
              </a:rPr>
              <a:t>YOU! </a:t>
            </a:r>
            <a:endParaRPr lang="en-US" sz="8000" b="1">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pic>
        <p:nvPicPr>
          <p:cNvPr id="18" name="Picture 17" descr="A close-up of a company logo&#10;&#10;Description automatically generated">
            <a:extLst>
              <a:ext uri="{FF2B5EF4-FFF2-40B4-BE49-F238E27FC236}">
                <a16:creationId xmlns:a16="http://schemas.microsoft.com/office/drawing/2014/main" id="{2B0958FB-E15B-A14F-48C1-EBBEB062092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377444" y="4044845"/>
            <a:ext cx="2729907" cy="971107"/>
          </a:xfrm>
          <a:prstGeom prst="rect">
            <a:avLst/>
          </a:prstGeom>
        </p:spPr>
      </p:pic>
      <p:pic>
        <p:nvPicPr>
          <p:cNvPr id="27" name="Picture 26" descr="A white toy with black stripes and a white helmet&#10;&#10;Description automatically generated with medium confidence">
            <a:extLst>
              <a:ext uri="{FF2B5EF4-FFF2-40B4-BE49-F238E27FC236}">
                <a16:creationId xmlns:a16="http://schemas.microsoft.com/office/drawing/2014/main" id="{38160286-7AFA-C9FF-E3BE-A527821F90B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5785" y="3655810"/>
            <a:ext cx="1464638" cy="3443696"/>
          </a:xfrm>
          <a:prstGeom prst="rect">
            <a:avLst/>
          </a:prstGeom>
        </p:spPr>
      </p:pic>
      <p:pic>
        <p:nvPicPr>
          <p:cNvPr id="29" name="Picture 28" descr="A group of colorful squares&#10;&#10;Description automatically generated">
            <a:extLst>
              <a:ext uri="{FF2B5EF4-FFF2-40B4-BE49-F238E27FC236}">
                <a16:creationId xmlns:a16="http://schemas.microsoft.com/office/drawing/2014/main" id="{9E28999C-BB9B-6324-62AE-A1D6BEE4B1D5}"/>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756045" y="1235989"/>
            <a:ext cx="591736" cy="591736"/>
          </a:xfrm>
          <a:prstGeom prst="rect">
            <a:avLst/>
          </a:prstGeom>
        </p:spPr>
      </p:pic>
      <p:sp>
        <p:nvSpPr>
          <p:cNvPr id="34" name="Rectángulo 12">
            <a:extLst>
              <a:ext uri="{FF2B5EF4-FFF2-40B4-BE49-F238E27FC236}">
                <a16:creationId xmlns:a16="http://schemas.microsoft.com/office/drawing/2014/main" id="{11351438-45E2-2F90-D619-E3B184EA4E17}"/>
              </a:ext>
            </a:extLst>
          </p:cNvPr>
          <p:cNvSpPr/>
          <p:nvPr/>
        </p:nvSpPr>
        <p:spPr>
          <a:xfrm>
            <a:off x="6887988" y="1074467"/>
            <a:ext cx="4338014" cy="830997"/>
          </a:xfrm>
          <a:prstGeom prst="rect">
            <a:avLst/>
          </a:prstGeom>
        </p:spPr>
        <p:txBody>
          <a:bodyPr wrap="square" lIns="0" rIns="0" anchor="b" anchorCtr="0">
            <a:spAutoFit/>
          </a:bodyPr>
          <a:lstStyle/>
          <a:p>
            <a:pPr algn="ctr"/>
            <a:r>
              <a:rPr lang="en-US" sz="4800" b="1">
                <a:solidFill>
                  <a:schemeClr val="bg1">
                    <a:lumMod val="65000"/>
                  </a:schemeClr>
                </a:solidFill>
                <a:latin typeface="Segoe UI" panose="020B0502040204020203" pitchFamily="34" charset="0"/>
                <a:ea typeface="Source Sans Pro Semibold" panose="020B0603030403020204" pitchFamily="34" charset="0"/>
                <a:cs typeface="Segoe UI" panose="020B0502040204020203" pitchFamily="34" charset="0"/>
              </a:rPr>
              <a:t>Sponsors </a:t>
            </a:r>
            <a:endParaRPr lang="en-US" sz="4800" b="1">
              <a:solidFill>
                <a:schemeClr val="bg1">
                  <a:lumMod val="65000"/>
                </a:schemeClr>
              </a:solidFill>
              <a:latin typeface="Segoe UI" panose="020B0502040204020203" pitchFamily="34" charset="0"/>
              <a:ea typeface="Source Sans Pro Black" panose="020B0803030403020204" pitchFamily="34" charset="0"/>
              <a:cs typeface="Segoe UI" panose="020B0502040204020203" pitchFamily="34" charset="0"/>
            </a:endParaRPr>
          </a:p>
        </p:txBody>
      </p:sp>
      <p:sp>
        <p:nvSpPr>
          <p:cNvPr id="4" name="Rectángulo redondeado 14">
            <a:extLst>
              <a:ext uri="{FF2B5EF4-FFF2-40B4-BE49-F238E27FC236}">
                <a16:creationId xmlns:a16="http://schemas.microsoft.com/office/drawing/2014/main" id="{334736E8-0656-1B9D-B202-0EB20B253C4D}"/>
              </a:ext>
            </a:extLst>
          </p:cNvPr>
          <p:cNvSpPr/>
          <p:nvPr/>
        </p:nvSpPr>
        <p:spPr>
          <a:xfrm>
            <a:off x="6175182" y="504630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logo on a black background&#10;&#10;Description automatically generated">
            <a:extLst>
              <a:ext uri="{FF2B5EF4-FFF2-40B4-BE49-F238E27FC236}">
                <a16:creationId xmlns:a16="http://schemas.microsoft.com/office/drawing/2014/main" id="{7F3114FE-4745-AAFA-FCB1-B1B4F435DBDF}"/>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9714"/>
          <a:stretch/>
        </p:blipFill>
        <p:spPr>
          <a:xfrm>
            <a:off x="6175182" y="5039844"/>
            <a:ext cx="5069888" cy="1490492"/>
          </a:xfrm>
          <a:prstGeom prst="rect">
            <a:avLst/>
          </a:prstGeom>
        </p:spPr>
      </p:pic>
      <p:pic>
        <p:nvPicPr>
          <p:cNvPr id="19" name="Picture 18">
            <a:extLst>
              <a:ext uri="{FF2B5EF4-FFF2-40B4-BE49-F238E27FC236}">
                <a16:creationId xmlns:a16="http://schemas.microsoft.com/office/drawing/2014/main" id="{28FD5105-216D-761E-32CB-EEE89D8C7AFA}"/>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7831133" y="5201332"/>
            <a:ext cx="878993" cy="878993"/>
          </a:xfrm>
          <a:prstGeom prst="rect">
            <a:avLst/>
          </a:prstGeom>
        </p:spPr>
      </p:pic>
      <p:pic>
        <p:nvPicPr>
          <p:cNvPr id="1028" name="Picture 4" descr="Image result for staedean logo">
            <a:extLst>
              <a:ext uri="{FF2B5EF4-FFF2-40B4-BE49-F238E27FC236}">
                <a16:creationId xmlns:a16="http://schemas.microsoft.com/office/drawing/2014/main" id="{340C411F-4D15-824D-8F3E-FC695274CB7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42708" y="2441242"/>
            <a:ext cx="4203195" cy="1347963"/>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Unsere Partner | sensatus GmbH">
            <a:extLst>
              <a:ext uri="{FF2B5EF4-FFF2-40B4-BE49-F238E27FC236}">
                <a16:creationId xmlns:a16="http://schemas.microsoft.com/office/drawing/2014/main" id="{678876D3-9CB9-F8E0-7BB6-067EA87372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42742" y="630710"/>
            <a:ext cx="3819898" cy="199450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logo with blue and white text&#10;&#10;Description automatically generated">
            <a:extLst>
              <a:ext uri="{FF2B5EF4-FFF2-40B4-BE49-F238E27FC236}">
                <a16:creationId xmlns:a16="http://schemas.microsoft.com/office/drawing/2014/main" id="{805EB88F-71C3-370D-E6A9-CEDABE199DD7}"/>
              </a:ext>
            </a:extLst>
          </p:cNvPr>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1431047" y="3421170"/>
            <a:ext cx="2008372" cy="1850422"/>
          </a:xfrm>
          <a:prstGeom prst="rect">
            <a:avLst/>
          </a:prstGeom>
        </p:spPr>
      </p:pic>
    </p:spTree>
    <p:extLst>
      <p:ext uri="{BB962C8B-B14F-4D97-AF65-F5344CB8AC3E}">
        <p14:creationId xmlns:p14="http://schemas.microsoft.com/office/powerpoint/2010/main" val="4216907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853C7B9-AF01-1229-F2C2-DDFE09B03437}"/>
              </a:ext>
            </a:extLst>
          </p:cNvPr>
          <p:cNvGrpSpPr/>
          <p:nvPr/>
        </p:nvGrpSpPr>
        <p:grpSpPr>
          <a:xfrm>
            <a:off x="0" y="0"/>
            <a:ext cx="12192000" cy="6858000"/>
            <a:chOff x="0" y="0"/>
            <a:chExt cx="12192000" cy="6858000"/>
          </a:xfrm>
        </p:grpSpPr>
        <p:pic>
          <p:nvPicPr>
            <p:cNvPr id="4" name="Picture 3">
              <a:extLst>
                <a:ext uri="{FF2B5EF4-FFF2-40B4-BE49-F238E27FC236}">
                  <a16:creationId xmlns:a16="http://schemas.microsoft.com/office/drawing/2014/main" id="{4721832B-34DB-D68A-907E-A6D2D4B13A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6" name="Picture 5" descr="Background pattern&#10;&#10;Description automatically generated">
              <a:extLst>
                <a:ext uri="{FF2B5EF4-FFF2-40B4-BE49-F238E27FC236}">
                  <a16:creationId xmlns:a16="http://schemas.microsoft.com/office/drawing/2014/main" id="{69371DD7-5808-031E-4E00-C353F6B6E2F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pic>
        <p:nvPicPr>
          <p:cNvPr id="3" name="Picture 2" descr="A white machine made of legos&#10;&#10;Description automatically generated">
            <a:extLst>
              <a:ext uri="{FF2B5EF4-FFF2-40B4-BE49-F238E27FC236}">
                <a16:creationId xmlns:a16="http://schemas.microsoft.com/office/drawing/2014/main" id="{015C3AFA-190E-0DCE-C174-6195E6DEE9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99E073D2-D02C-4602-90E7-2FBE431AD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7" name="Object 6" hidden="1">
                        <a:extLst>
                          <a:ext uri="{FF2B5EF4-FFF2-40B4-BE49-F238E27FC236}">
                            <a16:creationId xmlns:a16="http://schemas.microsoft.com/office/drawing/2014/main" id="{99E073D2-D02C-4602-90E7-2FBE431ADC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descr="A group of colorful squares&#10;&#10;Description automatically generated">
            <a:extLst>
              <a:ext uri="{FF2B5EF4-FFF2-40B4-BE49-F238E27FC236}">
                <a16:creationId xmlns:a16="http://schemas.microsoft.com/office/drawing/2014/main" id="{4C8655A2-602C-83EB-C16D-E491603512C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37580" y="189812"/>
            <a:ext cx="796485" cy="796485"/>
          </a:xfrm>
          <a:prstGeom prst="rect">
            <a:avLst/>
          </a:prstGeom>
        </p:spPr>
      </p:pic>
      <p:pic>
        <p:nvPicPr>
          <p:cNvPr id="8" name="Picture 7" descr="A toy building set with a blue figure&#10;&#10;Description automatically generated with medium confidence">
            <a:extLst>
              <a:ext uri="{FF2B5EF4-FFF2-40B4-BE49-F238E27FC236}">
                <a16:creationId xmlns:a16="http://schemas.microsoft.com/office/drawing/2014/main" id="{DE64F1D0-FA32-DFA8-FED4-B827DBE2FE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66727" y="0"/>
            <a:ext cx="7487693" cy="7099506"/>
          </a:xfrm>
          <a:prstGeom prst="rect">
            <a:avLst/>
          </a:prstGeom>
        </p:spPr>
      </p:pic>
      <p:pic>
        <p:nvPicPr>
          <p:cNvPr id="10" name="Picture 4">
            <a:extLst>
              <a:ext uri="{FF2B5EF4-FFF2-40B4-BE49-F238E27FC236}">
                <a16:creationId xmlns:a16="http://schemas.microsoft.com/office/drawing/2014/main" id="{FDEC2C2B-32BA-35D0-B837-DF1FEA6AE0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31771" y="4709518"/>
            <a:ext cx="1714390" cy="197877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toy figure with a black mask and a black helmet&#10;&#10;Description automatically generated with medium confidence">
            <a:extLst>
              <a:ext uri="{FF2B5EF4-FFF2-40B4-BE49-F238E27FC236}">
                <a16:creationId xmlns:a16="http://schemas.microsoft.com/office/drawing/2014/main" id="{939DA641-157E-E6E4-F8B8-CEDF4E168363}"/>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3560418" y="4065163"/>
            <a:ext cx="1329997" cy="3137508"/>
          </a:xfrm>
          <a:prstGeom prst="rect">
            <a:avLst/>
          </a:prstGeom>
        </p:spPr>
      </p:pic>
      <p:pic>
        <p:nvPicPr>
          <p:cNvPr id="15" name="Picture 14" descr="A white robot with a black background&#10;&#10;Description automatically generated">
            <a:extLst>
              <a:ext uri="{FF2B5EF4-FFF2-40B4-BE49-F238E27FC236}">
                <a16:creationId xmlns:a16="http://schemas.microsoft.com/office/drawing/2014/main" id="{51851ECE-98D7-0D60-CBC3-8A05CC0CF180}"/>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2018990" y="4810911"/>
            <a:ext cx="2391760" cy="2391760"/>
          </a:xfrm>
          <a:prstGeom prst="rect">
            <a:avLst/>
          </a:prstGeom>
        </p:spPr>
      </p:pic>
      <p:pic>
        <p:nvPicPr>
          <p:cNvPr id="27" name="Picture 26" descr="A white toy with black stripes and a white helmet&#10;&#10;Description automatically generated with medium confidence">
            <a:extLst>
              <a:ext uri="{FF2B5EF4-FFF2-40B4-BE49-F238E27FC236}">
                <a16:creationId xmlns:a16="http://schemas.microsoft.com/office/drawing/2014/main" id="{99709725-3800-BF14-FAE5-104B984A25BA}"/>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3958846"/>
            <a:ext cx="1337990" cy="3145918"/>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ADF57435-FE53-005C-4E82-CF71934B5DF7}"/>
              </a:ext>
            </a:extLst>
          </p:cNvPr>
          <p:cNvPicPr>
            <a:picLocks noChangeAspect="1"/>
          </p:cNvPicPr>
          <p:nvPr/>
        </p:nvPicPr>
        <p:blipFill rotWithShape="1">
          <a:blip r:embed="rId14" cstate="hqprint">
            <a:extLst>
              <a:ext uri="{28A0092B-C50C-407E-A947-70E740481C1C}">
                <a14:useLocalDpi xmlns:a14="http://schemas.microsoft.com/office/drawing/2010/main" val="0"/>
              </a:ext>
            </a:extLst>
          </a:blip>
          <a:srcRect/>
          <a:stretch/>
        </p:blipFill>
        <p:spPr>
          <a:xfrm>
            <a:off x="954545" y="189811"/>
            <a:ext cx="1873338" cy="626145"/>
          </a:xfrm>
          <a:prstGeom prst="rect">
            <a:avLst/>
          </a:prstGeom>
        </p:spPr>
      </p:pic>
      <p:pic>
        <p:nvPicPr>
          <p:cNvPr id="17" name="Picture 16" descr="A logo for a company">
            <a:extLst>
              <a:ext uri="{FF2B5EF4-FFF2-40B4-BE49-F238E27FC236}">
                <a16:creationId xmlns:a16="http://schemas.microsoft.com/office/drawing/2014/main" id="{E3E4AADF-43ED-19E1-3EC0-112833B2A90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21444471">
            <a:off x="-2334168" y="-102273"/>
            <a:ext cx="10857535" cy="6107364"/>
          </a:xfrm>
          <a:prstGeom prst="rect">
            <a:avLst/>
          </a:prstGeom>
        </p:spPr>
      </p:pic>
    </p:spTree>
    <p:extLst>
      <p:ext uri="{BB962C8B-B14F-4D97-AF65-F5344CB8AC3E}">
        <p14:creationId xmlns:p14="http://schemas.microsoft.com/office/powerpoint/2010/main" val="3270601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A229D-D266-79F3-B621-8CF6442CA46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20A911-D5C4-9DAE-53E5-BB662D5E2D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AD20A911-D5C4-9DAE-53E5-BB662D5E2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DF7080-2876-12FE-2F59-E22EA1FCB68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24" name="Freeform 46">
            <a:extLst>
              <a:ext uri="{FF2B5EF4-FFF2-40B4-BE49-F238E27FC236}">
                <a16:creationId xmlns:a16="http://schemas.microsoft.com/office/drawing/2014/main" id="{85CBFB96-6EED-1521-2EB4-F443CE004CD9}"/>
              </a:ext>
            </a:extLst>
          </p:cNvPr>
          <p:cNvSpPr/>
          <p:nvPr/>
        </p:nvSpPr>
        <p:spPr>
          <a:xfrm>
            <a:off x="564243" y="5369083"/>
            <a:ext cx="701034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7" name="Freeform 46">
            <a:extLst>
              <a:ext uri="{FF2B5EF4-FFF2-40B4-BE49-F238E27FC236}">
                <a16:creationId xmlns:a16="http://schemas.microsoft.com/office/drawing/2014/main" id="{D465CDDF-D2EB-4C90-DBD9-5781EDEC8C12}"/>
              </a:ext>
            </a:extLst>
          </p:cNvPr>
          <p:cNvSpPr/>
          <p:nvPr/>
        </p:nvSpPr>
        <p:spPr>
          <a:xfrm>
            <a:off x="564243" y="4419123"/>
            <a:ext cx="7504016"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8" name="Freeform 46">
            <a:extLst>
              <a:ext uri="{FF2B5EF4-FFF2-40B4-BE49-F238E27FC236}">
                <a16:creationId xmlns:a16="http://schemas.microsoft.com/office/drawing/2014/main" id="{1698966E-1530-1832-4DA9-3628F7D21406}"/>
              </a:ext>
            </a:extLst>
          </p:cNvPr>
          <p:cNvSpPr/>
          <p:nvPr/>
        </p:nvSpPr>
        <p:spPr>
          <a:xfrm>
            <a:off x="564242" y="3469162"/>
            <a:ext cx="834305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9" name="Freeform 46">
            <a:extLst>
              <a:ext uri="{FF2B5EF4-FFF2-40B4-BE49-F238E27FC236}">
                <a16:creationId xmlns:a16="http://schemas.microsoft.com/office/drawing/2014/main" id="{DCE87985-DB3D-3AF0-42C8-93A3D16E8128}"/>
              </a:ext>
            </a:extLst>
          </p:cNvPr>
          <p:cNvSpPr/>
          <p:nvPr/>
        </p:nvSpPr>
        <p:spPr>
          <a:xfrm>
            <a:off x="564242" y="2519203"/>
            <a:ext cx="9315400"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0" name="Freeform 46">
            <a:extLst>
              <a:ext uri="{FF2B5EF4-FFF2-40B4-BE49-F238E27FC236}">
                <a16:creationId xmlns:a16="http://schemas.microsoft.com/office/drawing/2014/main" id="{BFA25F90-40EA-E5D2-266E-CA3901C3834D}"/>
              </a:ext>
            </a:extLst>
          </p:cNvPr>
          <p:cNvSpPr/>
          <p:nvPr/>
        </p:nvSpPr>
        <p:spPr>
          <a:xfrm>
            <a:off x="564241" y="1569242"/>
            <a:ext cx="10125025"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3" name="Group 22">
            <a:extLst>
              <a:ext uri="{FF2B5EF4-FFF2-40B4-BE49-F238E27FC236}">
                <a16:creationId xmlns:a16="http://schemas.microsoft.com/office/drawing/2014/main" id="{250BD292-AD97-2F00-2684-D806D56061C3}"/>
              </a:ext>
            </a:extLst>
          </p:cNvPr>
          <p:cNvGrpSpPr/>
          <p:nvPr/>
        </p:nvGrpSpPr>
        <p:grpSpPr>
          <a:xfrm>
            <a:off x="16177" y="843643"/>
            <a:ext cx="12214702" cy="464457"/>
            <a:chOff x="16177" y="-27807"/>
            <a:chExt cx="12214702" cy="464457"/>
          </a:xfrm>
          <a:solidFill>
            <a:srgbClr val="D01012"/>
          </a:solidFill>
        </p:grpSpPr>
        <p:sp>
          <p:nvSpPr>
            <p:cNvPr id="18" name="任意多边形: 形状 16">
              <a:extLst>
                <a:ext uri="{FF2B5EF4-FFF2-40B4-BE49-F238E27FC236}">
                  <a16:creationId xmlns:a16="http://schemas.microsoft.com/office/drawing/2014/main" id="{6D2CC235-D826-F856-2B28-CCA87E2F3F7C}"/>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6">
              <a:extLst>
                <a:ext uri="{FF2B5EF4-FFF2-40B4-BE49-F238E27FC236}">
                  <a16:creationId xmlns:a16="http://schemas.microsoft.com/office/drawing/2014/main" id="{04C75903-0E0E-76F7-1FD4-98E04D64C4F4}"/>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形状 16">
              <a:extLst>
                <a:ext uri="{FF2B5EF4-FFF2-40B4-BE49-F238E27FC236}">
                  <a16:creationId xmlns:a16="http://schemas.microsoft.com/office/drawing/2014/main" id="{82D2413C-D074-9F5F-0F61-962ACD8FB34E}"/>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5863A975-E509-9D7D-0F1E-CB609AFD2C81}"/>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Freeform: Shape 21">
              <a:extLst>
                <a:ext uri="{FF2B5EF4-FFF2-40B4-BE49-F238E27FC236}">
                  <a16:creationId xmlns:a16="http://schemas.microsoft.com/office/drawing/2014/main" id="{2D4C8CC7-3B7F-E670-7440-506E603A49EE}"/>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24" name="Rectángulo 6175">
            <a:extLst>
              <a:ext uri="{FF2B5EF4-FFF2-40B4-BE49-F238E27FC236}">
                <a16:creationId xmlns:a16="http://schemas.microsoft.com/office/drawing/2014/main" id="{7AF9EDF3-DFB1-11BF-2EAD-A2AC5D12B1EE}"/>
              </a:ext>
            </a:extLst>
          </p:cNvPr>
          <p:cNvSpPr/>
          <p:nvPr/>
        </p:nvSpPr>
        <p:spPr>
          <a:xfrm>
            <a:off x="0" y="-36681"/>
            <a:ext cx="12214702" cy="1255882"/>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584E88-C03C-9B3C-A8B7-DB335DF78499}"/>
              </a:ext>
            </a:extLst>
          </p:cNvPr>
          <p:cNvSpPr>
            <a:spLocks noGrp="1"/>
          </p:cNvSpPr>
          <p:nvPr>
            <p:ph type="title"/>
          </p:nvPr>
        </p:nvSpPr>
        <p:spPr>
          <a:xfrm>
            <a:off x="564243" y="97457"/>
            <a:ext cx="11063515" cy="942975"/>
          </a:xfrm>
        </p:spPr>
        <p:txBody>
          <a:bodyPr/>
          <a:lstStyle/>
          <a:p>
            <a:r>
              <a:rPr lang="da-DK" b="1">
                <a:solidFill>
                  <a:schemeClr val="bg1"/>
                </a:solidFill>
                <a:latin typeface="Segoe UI" panose="020B0502040204020203" pitchFamily="34" charset="0"/>
                <a:cs typeface="Segoe UI" panose="020B0502040204020203" pitchFamily="34" charset="0"/>
              </a:rPr>
              <a:t>Integration Tools (The Armory)</a:t>
            </a:r>
            <a:endParaRPr lang="en-US" b="1">
              <a:solidFill>
                <a:schemeClr val="bg1"/>
              </a:solidFill>
              <a:latin typeface="Segoe UI" panose="020B0502040204020203" pitchFamily="34" charset="0"/>
              <a:cs typeface="Segoe UI" panose="020B0502040204020203" pitchFamily="34" charset="0"/>
            </a:endParaRPr>
          </a:p>
        </p:txBody>
      </p:sp>
      <p:grpSp>
        <p:nvGrpSpPr>
          <p:cNvPr id="91" name="Group 90">
            <a:extLst>
              <a:ext uri="{FF2B5EF4-FFF2-40B4-BE49-F238E27FC236}">
                <a16:creationId xmlns:a16="http://schemas.microsoft.com/office/drawing/2014/main" id="{1BD10B53-603B-6B4C-9BB0-2538EA6CDFF7}"/>
              </a:ext>
            </a:extLst>
          </p:cNvPr>
          <p:cNvGrpSpPr/>
          <p:nvPr/>
        </p:nvGrpSpPr>
        <p:grpSpPr>
          <a:xfrm>
            <a:off x="6430073" y="5116652"/>
            <a:ext cx="1883659" cy="1195248"/>
            <a:chOff x="6430073" y="5015052"/>
            <a:chExt cx="1883659" cy="1195248"/>
          </a:xfrm>
        </p:grpSpPr>
        <p:grpSp>
          <p:nvGrpSpPr>
            <p:cNvPr id="59" name="Group 5">
              <a:extLst>
                <a:ext uri="{FF2B5EF4-FFF2-40B4-BE49-F238E27FC236}">
                  <a16:creationId xmlns:a16="http://schemas.microsoft.com/office/drawing/2014/main" id="{16F0B8E5-038B-0F0C-5972-C93CE2A959DA}"/>
                </a:ext>
              </a:extLst>
            </p:cNvPr>
            <p:cNvGrpSpPr>
              <a:grpSpLocks noChangeAspect="1"/>
            </p:cNvGrpSpPr>
            <p:nvPr/>
          </p:nvGrpSpPr>
          <p:grpSpPr bwMode="auto">
            <a:xfrm>
              <a:off x="7169213" y="5015052"/>
              <a:ext cx="1144519" cy="959028"/>
              <a:chOff x="3550" y="1917"/>
              <a:chExt cx="580" cy="486"/>
            </a:xfrm>
          </p:grpSpPr>
          <p:sp>
            <p:nvSpPr>
              <p:cNvPr id="60" name="Freeform 6">
                <a:extLst>
                  <a:ext uri="{FF2B5EF4-FFF2-40B4-BE49-F238E27FC236}">
                    <a16:creationId xmlns:a16="http://schemas.microsoft.com/office/drawing/2014/main" id="{1AAD31BA-E36B-4F34-F61C-80EFEC6886B4}"/>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
                <a:extLst>
                  <a:ext uri="{FF2B5EF4-FFF2-40B4-BE49-F238E27FC236}">
                    <a16:creationId xmlns:a16="http://schemas.microsoft.com/office/drawing/2014/main" id="{1B7EE3E9-8783-9108-FBE8-5F64744C3E03}"/>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
                <a:extLst>
                  <a:ext uri="{FF2B5EF4-FFF2-40B4-BE49-F238E27FC236}">
                    <a16:creationId xmlns:a16="http://schemas.microsoft.com/office/drawing/2014/main" id="{4BBE6102-3D30-0547-7291-158FEE8F88C8}"/>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9">
                <a:extLst>
                  <a:ext uri="{FF2B5EF4-FFF2-40B4-BE49-F238E27FC236}">
                    <a16:creationId xmlns:a16="http://schemas.microsoft.com/office/drawing/2014/main" id="{FF0100A8-34B1-22D8-7ABF-CAC29C23A7CB}"/>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10">
                <a:extLst>
                  <a:ext uri="{FF2B5EF4-FFF2-40B4-BE49-F238E27FC236}">
                    <a16:creationId xmlns:a16="http://schemas.microsoft.com/office/drawing/2014/main" id="{01AF215D-2EAC-46A4-5B2B-106243452F03}"/>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1">
                <a:extLst>
                  <a:ext uri="{FF2B5EF4-FFF2-40B4-BE49-F238E27FC236}">
                    <a16:creationId xmlns:a16="http://schemas.microsoft.com/office/drawing/2014/main" id="{F1714843-8AB1-F750-7934-4EEB15BADB66}"/>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2">
                <a:extLst>
                  <a:ext uri="{FF2B5EF4-FFF2-40B4-BE49-F238E27FC236}">
                    <a16:creationId xmlns:a16="http://schemas.microsoft.com/office/drawing/2014/main" id="{1C1B5B71-B881-C560-DFA8-9E946EC05C73}"/>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13">
                <a:extLst>
                  <a:ext uri="{FF2B5EF4-FFF2-40B4-BE49-F238E27FC236}">
                    <a16:creationId xmlns:a16="http://schemas.microsoft.com/office/drawing/2014/main" id="{C7B4D6B3-CE6C-7307-E2EA-6B77031376C6}"/>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14">
                <a:extLst>
                  <a:ext uri="{FF2B5EF4-FFF2-40B4-BE49-F238E27FC236}">
                    <a16:creationId xmlns:a16="http://schemas.microsoft.com/office/drawing/2014/main" id="{AD96BFD3-3B7E-8E8E-FF6C-AE2AEF374834}"/>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
                <a:extLst>
                  <a:ext uri="{FF2B5EF4-FFF2-40B4-BE49-F238E27FC236}">
                    <a16:creationId xmlns:a16="http://schemas.microsoft.com/office/drawing/2014/main" id="{8E4FE9EB-5ED1-A486-C1AC-700278C94BD8}"/>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16">
                <a:extLst>
                  <a:ext uri="{FF2B5EF4-FFF2-40B4-BE49-F238E27FC236}">
                    <a16:creationId xmlns:a16="http://schemas.microsoft.com/office/drawing/2014/main" id="{541691BE-1688-EBAA-74CA-10BB516FCCA2}"/>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7">
                <a:extLst>
                  <a:ext uri="{FF2B5EF4-FFF2-40B4-BE49-F238E27FC236}">
                    <a16:creationId xmlns:a16="http://schemas.microsoft.com/office/drawing/2014/main" id="{7E4D12A9-15A2-E1C9-B52F-7FE274AECC3B}"/>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8">
                <a:extLst>
                  <a:ext uri="{FF2B5EF4-FFF2-40B4-BE49-F238E27FC236}">
                    <a16:creationId xmlns:a16="http://schemas.microsoft.com/office/drawing/2014/main" id="{3D3026D6-0F03-F3EB-A0AD-71F7A0762CF0}"/>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19">
                <a:extLst>
                  <a:ext uri="{FF2B5EF4-FFF2-40B4-BE49-F238E27FC236}">
                    <a16:creationId xmlns:a16="http://schemas.microsoft.com/office/drawing/2014/main" id="{4F9C7867-60AF-69CE-363E-F910058E57DB}"/>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20">
                <a:extLst>
                  <a:ext uri="{FF2B5EF4-FFF2-40B4-BE49-F238E27FC236}">
                    <a16:creationId xmlns:a16="http://schemas.microsoft.com/office/drawing/2014/main" id="{93361100-11A8-5F73-0CB2-33FE696FA85F}"/>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5">
              <a:extLst>
                <a:ext uri="{FF2B5EF4-FFF2-40B4-BE49-F238E27FC236}">
                  <a16:creationId xmlns:a16="http://schemas.microsoft.com/office/drawing/2014/main" id="{29A81CED-78EB-2808-30A7-09F722095118}"/>
                </a:ext>
              </a:extLst>
            </p:cNvPr>
            <p:cNvGrpSpPr>
              <a:grpSpLocks noChangeAspect="1"/>
            </p:cNvGrpSpPr>
            <p:nvPr/>
          </p:nvGrpSpPr>
          <p:grpSpPr bwMode="auto">
            <a:xfrm>
              <a:off x="6430073" y="5251272"/>
              <a:ext cx="1144519" cy="959028"/>
              <a:chOff x="3550" y="1917"/>
              <a:chExt cx="580" cy="486"/>
            </a:xfrm>
          </p:grpSpPr>
          <p:sp>
            <p:nvSpPr>
              <p:cNvPr id="28" name="Freeform 6">
                <a:extLst>
                  <a:ext uri="{FF2B5EF4-FFF2-40B4-BE49-F238E27FC236}">
                    <a16:creationId xmlns:a16="http://schemas.microsoft.com/office/drawing/2014/main" id="{FC78458E-7E06-932F-264D-EEB484C70C4A}"/>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id="{FBF2776A-A5D0-4367-750B-02AA3C0D394A}"/>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id="{5163AA7D-41FD-F7A7-DA60-1DF37EF19F8D}"/>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9">
                <a:extLst>
                  <a:ext uri="{FF2B5EF4-FFF2-40B4-BE49-F238E27FC236}">
                    <a16:creationId xmlns:a16="http://schemas.microsoft.com/office/drawing/2014/main" id="{17FB1117-A4E1-1175-C611-96AF188143BF}"/>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10">
                <a:extLst>
                  <a:ext uri="{FF2B5EF4-FFF2-40B4-BE49-F238E27FC236}">
                    <a16:creationId xmlns:a16="http://schemas.microsoft.com/office/drawing/2014/main" id="{3310EE48-3A49-7309-2706-EF5F3C0065DD}"/>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11">
                <a:extLst>
                  <a:ext uri="{FF2B5EF4-FFF2-40B4-BE49-F238E27FC236}">
                    <a16:creationId xmlns:a16="http://schemas.microsoft.com/office/drawing/2014/main" id="{48CC870F-64C0-0026-0372-FB9628991D7F}"/>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
                <a:extLst>
                  <a:ext uri="{FF2B5EF4-FFF2-40B4-BE49-F238E27FC236}">
                    <a16:creationId xmlns:a16="http://schemas.microsoft.com/office/drawing/2014/main" id="{2C59454B-C745-3CBC-FBBF-E24EE4F2E766}"/>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13">
                <a:extLst>
                  <a:ext uri="{FF2B5EF4-FFF2-40B4-BE49-F238E27FC236}">
                    <a16:creationId xmlns:a16="http://schemas.microsoft.com/office/drawing/2014/main" id="{525F9CD7-FB24-4B92-19FC-06212687A31D}"/>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
                <a:extLst>
                  <a:ext uri="{FF2B5EF4-FFF2-40B4-BE49-F238E27FC236}">
                    <a16:creationId xmlns:a16="http://schemas.microsoft.com/office/drawing/2014/main" id="{63CF68DC-E24F-7B47-8F04-D3B8796CDF65}"/>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5">
                <a:extLst>
                  <a:ext uri="{FF2B5EF4-FFF2-40B4-BE49-F238E27FC236}">
                    <a16:creationId xmlns:a16="http://schemas.microsoft.com/office/drawing/2014/main" id="{9963DF98-1101-69A7-08DD-55B9EF0963F3}"/>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
                <a:extLst>
                  <a:ext uri="{FF2B5EF4-FFF2-40B4-BE49-F238E27FC236}">
                    <a16:creationId xmlns:a16="http://schemas.microsoft.com/office/drawing/2014/main" id="{90A55F32-D841-6CCB-E44B-D58516970841}"/>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7">
                <a:extLst>
                  <a:ext uri="{FF2B5EF4-FFF2-40B4-BE49-F238E27FC236}">
                    <a16:creationId xmlns:a16="http://schemas.microsoft.com/office/drawing/2014/main" id="{C58759D4-7DCC-A9BF-59C2-0146B00DE107}"/>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8">
                <a:extLst>
                  <a:ext uri="{FF2B5EF4-FFF2-40B4-BE49-F238E27FC236}">
                    <a16:creationId xmlns:a16="http://schemas.microsoft.com/office/drawing/2014/main" id="{DE3972EE-CD7D-497C-5A80-750D4DA41D61}"/>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19">
                <a:extLst>
                  <a:ext uri="{FF2B5EF4-FFF2-40B4-BE49-F238E27FC236}">
                    <a16:creationId xmlns:a16="http://schemas.microsoft.com/office/drawing/2014/main" id="{B75B2AD4-1CFC-DDEE-F89A-B85039239930}"/>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0">
                <a:extLst>
                  <a:ext uri="{FF2B5EF4-FFF2-40B4-BE49-F238E27FC236}">
                    <a16:creationId xmlns:a16="http://schemas.microsoft.com/office/drawing/2014/main" id="{3E9FD269-36E6-AA8D-377F-84B9C12F8265}"/>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2" name="Group 91">
            <a:extLst>
              <a:ext uri="{FF2B5EF4-FFF2-40B4-BE49-F238E27FC236}">
                <a16:creationId xmlns:a16="http://schemas.microsoft.com/office/drawing/2014/main" id="{9079C5CC-7994-15DD-0FF4-9FAF4C367566}"/>
              </a:ext>
            </a:extLst>
          </p:cNvPr>
          <p:cNvGrpSpPr/>
          <p:nvPr/>
        </p:nvGrpSpPr>
        <p:grpSpPr>
          <a:xfrm>
            <a:off x="7087298" y="4116527"/>
            <a:ext cx="1883659" cy="1195248"/>
            <a:chOff x="6430073" y="5015052"/>
            <a:chExt cx="1883659" cy="1195248"/>
          </a:xfrm>
        </p:grpSpPr>
        <p:grpSp>
          <p:nvGrpSpPr>
            <p:cNvPr id="93" name="Group 5">
              <a:extLst>
                <a:ext uri="{FF2B5EF4-FFF2-40B4-BE49-F238E27FC236}">
                  <a16:creationId xmlns:a16="http://schemas.microsoft.com/office/drawing/2014/main" id="{7DABE719-820A-1E5E-471B-149A25EE8CEE}"/>
                </a:ext>
              </a:extLst>
            </p:cNvPr>
            <p:cNvGrpSpPr>
              <a:grpSpLocks noChangeAspect="1"/>
            </p:cNvGrpSpPr>
            <p:nvPr/>
          </p:nvGrpSpPr>
          <p:grpSpPr bwMode="auto">
            <a:xfrm>
              <a:off x="7169213" y="5015052"/>
              <a:ext cx="1144519" cy="959028"/>
              <a:chOff x="3550" y="1917"/>
              <a:chExt cx="580" cy="486"/>
            </a:xfrm>
          </p:grpSpPr>
          <p:sp>
            <p:nvSpPr>
              <p:cNvPr id="110" name="Freeform 6">
                <a:extLst>
                  <a:ext uri="{FF2B5EF4-FFF2-40B4-BE49-F238E27FC236}">
                    <a16:creationId xmlns:a16="http://schemas.microsoft.com/office/drawing/2014/main" id="{E441BED9-9C35-DB61-9E9B-9499FB25650B}"/>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
                <a:extLst>
                  <a:ext uri="{FF2B5EF4-FFF2-40B4-BE49-F238E27FC236}">
                    <a16:creationId xmlns:a16="http://schemas.microsoft.com/office/drawing/2014/main" id="{82B6A9CF-470D-C95A-A549-3F6FC5E0A16C}"/>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
                <a:extLst>
                  <a:ext uri="{FF2B5EF4-FFF2-40B4-BE49-F238E27FC236}">
                    <a16:creationId xmlns:a16="http://schemas.microsoft.com/office/drawing/2014/main" id="{A8C3A5BD-CBE9-2303-4E4B-016367811AB1}"/>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a:extLst>
                  <a:ext uri="{FF2B5EF4-FFF2-40B4-BE49-F238E27FC236}">
                    <a16:creationId xmlns:a16="http://schemas.microsoft.com/office/drawing/2014/main" id="{53D2DA5B-CC66-963D-0291-4FF0856F8471}"/>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0">
                <a:extLst>
                  <a:ext uri="{FF2B5EF4-FFF2-40B4-BE49-F238E27FC236}">
                    <a16:creationId xmlns:a16="http://schemas.microsoft.com/office/drawing/2014/main" id="{804C69AC-9917-CD7C-C966-8023102546A7}"/>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
                <a:extLst>
                  <a:ext uri="{FF2B5EF4-FFF2-40B4-BE49-F238E27FC236}">
                    <a16:creationId xmlns:a16="http://schemas.microsoft.com/office/drawing/2014/main" id="{074E9008-3DAC-AA29-3254-8AAC47D8F59A}"/>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2">
                <a:extLst>
                  <a:ext uri="{FF2B5EF4-FFF2-40B4-BE49-F238E27FC236}">
                    <a16:creationId xmlns:a16="http://schemas.microsoft.com/office/drawing/2014/main" id="{D92D7D66-E2E2-8E57-67C3-197E18B79ED6}"/>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3">
                <a:extLst>
                  <a:ext uri="{FF2B5EF4-FFF2-40B4-BE49-F238E27FC236}">
                    <a16:creationId xmlns:a16="http://schemas.microsoft.com/office/drawing/2014/main" id="{9E204E7D-9C75-EF98-5344-F8B6184C1389}"/>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4">
                <a:extLst>
                  <a:ext uri="{FF2B5EF4-FFF2-40B4-BE49-F238E27FC236}">
                    <a16:creationId xmlns:a16="http://schemas.microsoft.com/office/drawing/2014/main" id="{9B29E9E4-F71E-DCC3-B4D6-C726AC286491}"/>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5">
                <a:extLst>
                  <a:ext uri="{FF2B5EF4-FFF2-40B4-BE49-F238E27FC236}">
                    <a16:creationId xmlns:a16="http://schemas.microsoft.com/office/drawing/2014/main" id="{DEBB65A2-FE44-3921-69AB-91F12CE7976D}"/>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6">
                <a:extLst>
                  <a:ext uri="{FF2B5EF4-FFF2-40B4-BE49-F238E27FC236}">
                    <a16:creationId xmlns:a16="http://schemas.microsoft.com/office/drawing/2014/main" id="{97FC9349-63DC-FA46-401A-6223641A1F94}"/>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17">
                <a:extLst>
                  <a:ext uri="{FF2B5EF4-FFF2-40B4-BE49-F238E27FC236}">
                    <a16:creationId xmlns:a16="http://schemas.microsoft.com/office/drawing/2014/main" id="{64F36A15-48AA-60DB-DB25-344E9F4D6219}"/>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8">
                <a:extLst>
                  <a:ext uri="{FF2B5EF4-FFF2-40B4-BE49-F238E27FC236}">
                    <a16:creationId xmlns:a16="http://schemas.microsoft.com/office/drawing/2014/main" id="{681766C6-C449-E489-A2D6-622480F4A6DB}"/>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9">
                <a:extLst>
                  <a:ext uri="{FF2B5EF4-FFF2-40B4-BE49-F238E27FC236}">
                    <a16:creationId xmlns:a16="http://schemas.microsoft.com/office/drawing/2014/main" id="{8B6AFFF7-6781-9C98-07C2-EAB8A589A16C}"/>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0">
                <a:extLst>
                  <a:ext uri="{FF2B5EF4-FFF2-40B4-BE49-F238E27FC236}">
                    <a16:creationId xmlns:a16="http://schemas.microsoft.com/office/drawing/2014/main" id="{9A57F881-0622-61AB-8078-DDFCABA7CF88}"/>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5">
              <a:extLst>
                <a:ext uri="{FF2B5EF4-FFF2-40B4-BE49-F238E27FC236}">
                  <a16:creationId xmlns:a16="http://schemas.microsoft.com/office/drawing/2014/main" id="{1DEED965-C4DC-7E09-0746-B8B8234602FC}"/>
                </a:ext>
              </a:extLst>
            </p:cNvPr>
            <p:cNvGrpSpPr>
              <a:grpSpLocks noChangeAspect="1"/>
            </p:cNvGrpSpPr>
            <p:nvPr/>
          </p:nvGrpSpPr>
          <p:grpSpPr bwMode="auto">
            <a:xfrm>
              <a:off x="6430073" y="5251272"/>
              <a:ext cx="1144519" cy="959028"/>
              <a:chOff x="3550" y="1917"/>
              <a:chExt cx="580" cy="486"/>
            </a:xfrm>
          </p:grpSpPr>
          <p:sp>
            <p:nvSpPr>
              <p:cNvPr id="95" name="Freeform 6">
                <a:extLst>
                  <a:ext uri="{FF2B5EF4-FFF2-40B4-BE49-F238E27FC236}">
                    <a16:creationId xmlns:a16="http://schemas.microsoft.com/office/drawing/2014/main" id="{E73AA881-9E6A-D932-57B0-DF00B77EDA95}"/>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D6A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
                <a:extLst>
                  <a:ext uri="{FF2B5EF4-FFF2-40B4-BE49-F238E27FC236}">
                    <a16:creationId xmlns:a16="http://schemas.microsoft.com/office/drawing/2014/main" id="{C760BA2F-5364-9524-C27C-EA0B3A7A6B31}"/>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
                <a:extLst>
                  <a:ext uri="{FF2B5EF4-FFF2-40B4-BE49-F238E27FC236}">
                    <a16:creationId xmlns:a16="http://schemas.microsoft.com/office/drawing/2014/main" id="{5015C61F-AD0F-3618-15D9-CBA82445BCC4}"/>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
                <a:extLst>
                  <a:ext uri="{FF2B5EF4-FFF2-40B4-BE49-F238E27FC236}">
                    <a16:creationId xmlns:a16="http://schemas.microsoft.com/office/drawing/2014/main" id="{595336F1-F9E6-4118-1CBE-5033DD199B2A}"/>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0">
                <a:extLst>
                  <a:ext uri="{FF2B5EF4-FFF2-40B4-BE49-F238E27FC236}">
                    <a16:creationId xmlns:a16="http://schemas.microsoft.com/office/drawing/2014/main" id="{B3BB3583-0FBB-9DFA-4B92-BE56692AD91B}"/>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1">
                <a:extLst>
                  <a:ext uri="{FF2B5EF4-FFF2-40B4-BE49-F238E27FC236}">
                    <a16:creationId xmlns:a16="http://schemas.microsoft.com/office/drawing/2014/main" id="{AD0AC475-FE9F-E32C-D0C3-0898F53CCA65}"/>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2">
                <a:extLst>
                  <a:ext uri="{FF2B5EF4-FFF2-40B4-BE49-F238E27FC236}">
                    <a16:creationId xmlns:a16="http://schemas.microsoft.com/office/drawing/2014/main" id="{77B35233-0CFD-4216-25CA-5B829111010B}"/>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3">
                <a:extLst>
                  <a:ext uri="{FF2B5EF4-FFF2-40B4-BE49-F238E27FC236}">
                    <a16:creationId xmlns:a16="http://schemas.microsoft.com/office/drawing/2014/main" id="{B881E409-3F4C-4EB9-FC3B-E4C070131EDC}"/>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14">
                <a:extLst>
                  <a:ext uri="{FF2B5EF4-FFF2-40B4-BE49-F238E27FC236}">
                    <a16:creationId xmlns:a16="http://schemas.microsoft.com/office/drawing/2014/main" id="{6CD343EF-84C4-44C0-5C72-E32A9B260E11}"/>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5">
                <a:extLst>
                  <a:ext uri="{FF2B5EF4-FFF2-40B4-BE49-F238E27FC236}">
                    <a16:creationId xmlns:a16="http://schemas.microsoft.com/office/drawing/2014/main" id="{1B351404-2842-1DB6-9226-34F7E7B92072}"/>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16">
                <a:extLst>
                  <a:ext uri="{FF2B5EF4-FFF2-40B4-BE49-F238E27FC236}">
                    <a16:creationId xmlns:a16="http://schemas.microsoft.com/office/drawing/2014/main" id="{ED300DDA-75B0-FBEB-ACF2-673BCEB465BF}"/>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17">
                <a:extLst>
                  <a:ext uri="{FF2B5EF4-FFF2-40B4-BE49-F238E27FC236}">
                    <a16:creationId xmlns:a16="http://schemas.microsoft.com/office/drawing/2014/main" id="{E25CFB6A-2C93-B30A-F982-22B9005260F9}"/>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8">
                <a:extLst>
                  <a:ext uri="{FF2B5EF4-FFF2-40B4-BE49-F238E27FC236}">
                    <a16:creationId xmlns:a16="http://schemas.microsoft.com/office/drawing/2014/main" id="{EB1A8E9A-2A9B-435B-9CBC-60CEA50E1B97}"/>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19">
                <a:extLst>
                  <a:ext uri="{FF2B5EF4-FFF2-40B4-BE49-F238E27FC236}">
                    <a16:creationId xmlns:a16="http://schemas.microsoft.com/office/drawing/2014/main" id="{FE4B9637-1FEA-77D6-5283-5BB3C0724C73}"/>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20">
                <a:extLst>
                  <a:ext uri="{FF2B5EF4-FFF2-40B4-BE49-F238E27FC236}">
                    <a16:creationId xmlns:a16="http://schemas.microsoft.com/office/drawing/2014/main" id="{D193F4AC-89FC-5DFB-6025-046E7933EA09}"/>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5" name="Group 124">
            <a:extLst>
              <a:ext uri="{FF2B5EF4-FFF2-40B4-BE49-F238E27FC236}">
                <a16:creationId xmlns:a16="http://schemas.microsoft.com/office/drawing/2014/main" id="{906FE808-A41D-D1A3-C13E-3B23AF5692F4}"/>
              </a:ext>
            </a:extLst>
          </p:cNvPr>
          <p:cNvGrpSpPr/>
          <p:nvPr/>
        </p:nvGrpSpPr>
        <p:grpSpPr>
          <a:xfrm>
            <a:off x="7906448" y="3192602"/>
            <a:ext cx="1883659" cy="1195248"/>
            <a:chOff x="6430073" y="5015052"/>
            <a:chExt cx="1883659" cy="1195248"/>
          </a:xfrm>
        </p:grpSpPr>
        <p:grpSp>
          <p:nvGrpSpPr>
            <p:cNvPr id="126" name="Group 5">
              <a:extLst>
                <a:ext uri="{FF2B5EF4-FFF2-40B4-BE49-F238E27FC236}">
                  <a16:creationId xmlns:a16="http://schemas.microsoft.com/office/drawing/2014/main" id="{42EA3E1E-9B13-2D79-27FB-86B45908772F}"/>
                </a:ext>
              </a:extLst>
            </p:cNvPr>
            <p:cNvGrpSpPr>
              <a:grpSpLocks noChangeAspect="1"/>
            </p:cNvGrpSpPr>
            <p:nvPr/>
          </p:nvGrpSpPr>
          <p:grpSpPr bwMode="auto">
            <a:xfrm>
              <a:off x="7169213" y="5015052"/>
              <a:ext cx="1144519" cy="959028"/>
              <a:chOff x="3550" y="1917"/>
              <a:chExt cx="580" cy="486"/>
            </a:xfrm>
          </p:grpSpPr>
          <p:sp>
            <p:nvSpPr>
              <p:cNvPr id="143" name="Freeform 6">
                <a:extLst>
                  <a:ext uri="{FF2B5EF4-FFF2-40B4-BE49-F238E27FC236}">
                    <a16:creationId xmlns:a16="http://schemas.microsoft.com/office/drawing/2014/main" id="{E0FFD6C4-CF7B-55DA-F8E4-B1FD6EEC9C1C}"/>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
                <a:extLst>
                  <a:ext uri="{FF2B5EF4-FFF2-40B4-BE49-F238E27FC236}">
                    <a16:creationId xmlns:a16="http://schemas.microsoft.com/office/drawing/2014/main" id="{7D1CA821-D3C1-0A8E-A9E9-62CA51197DC0}"/>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8">
                <a:extLst>
                  <a:ext uri="{FF2B5EF4-FFF2-40B4-BE49-F238E27FC236}">
                    <a16:creationId xmlns:a16="http://schemas.microsoft.com/office/drawing/2014/main" id="{BC5F80E6-DDAA-2AB2-E81C-4E6116966022}"/>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9">
                <a:extLst>
                  <a:ext uri="{FF2B5EF4-FFF2-40B4-BE49-F238E27FC236}">
                    <a16:creationId xmlns:a16="http://schemas.microsoft.com/office/drawing/2014/main" id="{66154A47-A709-5061-0FCE-A4AB61CFB67B}"/>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0">
                <a:extLst>
                  <a:ext uri="{FF2B5EF4-FFF2-40B4-BE49-F238E27FC236}">
                    <a16:creationId xmlns:a16="http://schemas.microsoft.com/office/drawing/2014/main" id="{067835D4-8C69-2964-3A25-1618D52249AF}"/>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11">
                <a:extLst>
                  <a:ext uri="{FF2B5EF4-FFF2-40B4-BE49-F238E27FC236}">
                    <a16:creationId xmlns:a16="http://schemas.microsoft.com/office/drawing/2014/main" id="{63E2236B-B64B-7308-A27A-9A9F052F9681}"/>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2">
                <a:extLst>
                  <a:ext uri="{FF2B5EF4-FFF2-40B4-BE49-F238E27FC236}">
                    <a16:creationId xmlns:a16="http://schemas.microsoft.com/office/drawing/2014/main" id="{D9614E3B-7EFA-AFE8-4ED9-0A1CBA5A7E13}"/>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3">
                <a:extLst>
                  <a:ext uri="{FF2B5EF4-FFF2-40B4-BE49-F238E27FC236}">
                    <a16:creationId xmlns:a16="http://schemas.microsoft.com/office/drawing/2014/main" id="{997D0C70-8DB9-8C8E-FD29-AC3F4D65F3F3}"/>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4">
                <a:extLst>
                  <a:ext uri="{FF2B5EF4-FFF2-40B4-BE49-F238E27FC236}">
                    <a16:creationId xmlns:a16="http://schemas.microsoft.com/office/drawing/2014/main" id="{479C114F-6DAA-5AFB-1591-C4B58022B2F4}"/>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15">
                <a:extLst>
                  <a:ext uri="{FF2B5EF4-FFF2-40B4-BE49-F238E27FC236}">
                    <a16:creationId xmlns:a16="http://schemas.microsoft.com/office/drawing/2014/main" id="{AF095D6C-40DF-22A3-7CFD-BE29806D886D}"/>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6">
                <a:extLst>
                  <a:ext uri="{FF2B5EF4-FFF2-40B4-BE49-F238E27FC236}">
                    <a16:creationId xmlns:a16="http://schemas.microsoft.com/office/drawing/2014/main" id="{D34B4B1E-4150-4855-0BC9-B0D85B0F0D1A}"/>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7">
                <a:extLst>
                  <a:ext uri="{FF2B5EF4-FFF2-40B4-BE49-F238E27FC236}">
                    <a16:creationId xmlns:a16="http://schemas.microsoft.com/office/drawing/2014/main" id="{3AD418A2-AA9C-736C-4FB7-3EACEE7F2074}"/>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18">
                <a:extLst>
                  <a:ext uri="{FF2B5EF4-FFF2-40B4-BE49-F238E27FC236}">
                    <a16:creationId xmlns:a16="http://schemas.microsoft.com/office/drawing/2014/main" id="{F101D18D-E9FA-CA7D-2D01-3EF340F5E5A8}"/>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9">
                <a:extLst>
                  <a:ext uri="{FF2B5EF4-FFF2-40B4-BE49-F238E27FC236}">
                    <a16:creationId xmlns:a16="http://schemas.microsoft.com/office/drawing/2014/main" id="{306F336A-9269-F704-4334-2045DD1EFA41}"/>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20">
                <a:extLst>
                  <a:ext uri="{FF2B5EF4-FFF2-40B4-BE49-F238E27FC236}">
                    <a16:creationId xmlns:a16="http://schemas.microsoft.com/office/drawing/2014/main" id="{3B7E31CF-A9A7-DAFE-1135-0199FED719F2}"/>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 name="Group 5">
              <a:extLst>
                <a:ext uri="{FF2B5EF4-FFF2-40B4-BE49-F238E27FC236}">
                  <a16:creationId xmlns:a16="http://schemas.microsoft.com/office/drawing/2014/main" id="{35B02E5B-996E-E6CC-20C3-5893F64AD5C2}"/>
                </a:ext>
              </a:extLst>
            </p:cNvPr>
            <p:cNvGrpSpPr>
              <a:grpSpLocks noChangeAspect="1"/>
            </p:cNvGrpSpPr>
            <p:nvPr/>
          </p:nvGrpSpPr>
          <p:grpSpPr bwMode="auto">
            <a:xfrm>
              <a:off x="6430073" y="5251272"/>
              <a:ext cx="1144519" cy="959028"/>
              <a:chOff x="3550" y="1917"/>
              <a:chExt cx="580" cy="486"/>
            </a:xfrm>
          </p:grpSpPr>
          <p:sp>
            <p:nvSpPr>
              <p:cNvPr id="128" name="Freeform 6">
                <a:extLst>
                  <a:ext uri="{FF2B5EF4-FFF2-40B4-BE49-F238E27FC236}">
                    <a16:creationId xmlns:a16="http://schemas.microsoft.com/office/drawing/2014/main" id="{928A3C1C-6125-4A99-7274-0BE052B62C92}"/>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7">
                <a:extLst>
                  <a:ext uri="{FF2B5EF4-FFF2-40B4-BE49-F238E27FC236}">
                    <a16:creationId xmlns:a16="http://schemas.microsoft.com/office/drawing/2014/main" id="{4B4ADE5A-BDC1-7F34-A8EE-4CB8ACBF85CF}"/>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8">
                <a:extLst>
                  <a:ext uri="{FF2B5EF4-FFF2-40B4-BE49-F238E27FC236}">
                    <a16:creationId xmlns:a16="http://schemas.microsoft.com/office/drawing/2014/main" id="{60547582-F276-5A95-3EB3-EA162A305F0B}"/>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9">
                <a:extLst>
                  <a:ext uri="{FF2B5EF4-FFF2-40B4-BE49-F238E27FC236}">
                    <a16:creationId xmlns:a16="http://schemas.microsoft.com/office/drawing/2014/main" id="{D7CDF49E-EC8F-294B-9439-C66A57971124}"/>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10">
                <a:extLst>
                  <a:ext uri="{FF2B5EF4-FFF2-40B4-BE49-F238E27FC236}">
                    <a16:creationId xmlns:a16="http://schemas.microsoft.com/office/drawing/2014/main" id="{183CD625-3FB9-058E-E4A4-537BB616A998}"/>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11">
                <a:extLst>
                  <a:ext uri="{FF2B5EF4-FFF2-40B4-BE49-F238E27FC236}">
                    <a16:creationId xmlns:a16="http://schemas.microsoft.com/office/drawing/2014/main" id="{20FA7C05-4AA8-71EF-31C0-32A8E9C2FA4B}"/>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2">
                <a:extLst>
                  <a:ext uri="{FF2B5EF4-FFF2-40B4-BE49-F238E27FC236}">
                    <a16:creationId xmlns:a16="http://schemas.microsoft.com/office/drawing/2014/main" id="{C6269808-48DE-6C06-BF05-F4302FF5BF9E}"/>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13">
                <a:extLst>
                  <a:ext uri="{FF2B5EF4-FFF2-40B4-BE49-F238E27FC236}">
                    <a16:creationId xmlns:a16="http://schemas.microsoft.com/office/drawing/2014/main" id="{90EE0782-B9CA-DF7D-A02C-6AB3E87583FB}"/>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14">
                <a:extLst>
                  <a:ext uri="{FF2B5EF4-FFF2-40B4-BE49-F238E27FC236}">
                    <a16:creationId xmlns:a16="http://schemas.microsoft.com/office/drawing/2014/main" id="{37E72887-5163-879E-C0F9-3B7FFDF9C39A}"/>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5">
                <a:extLst>
                  <a:ext uri="{FF2B5EF4-FFF2-40B4-BE49-F238E27FC236}">
                    <a16:creationId xmlns:a16="http://schemas.microsoft.com/office/drawing/2014/main" id="{641CEF67-BFD0-A004-F9E1-E36B0009EBCC}"/>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16">
                <a:extLst>
                  <a:ext uri="{FF2B5EF4-FFF2-40B4-BE49-F238E27FC236}">
                    <a16:creationId xmlns:a16="http://schemas.microsoft.com/office/drawing/2014/main" id="{8684277E-C5AB-32C7-BF6F-EF47B913E1FF}"/>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17">
                <a:extLst>
                  <a:ext uri="{FF2B5EF4-FFF2-40B4-BE49-F238E27FC236}">
                    <a16:creationId xmlns:a16="http://schemas.microsoft.com/office/drawing/2014/main" id="{3E5E4105-AA99-2886-6694-1578B7751A3C}"/>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18">
                <a:extLst>
                  <a:ext uri="{FF2B5EF4-FFF2-40B4-BE49-F238E27FC236}">
                    <a16:creationId xmlns:a16="http://schemas.microsoft.com/office/drawing/2014/main" id="{80B67173-ACCD-CE50-5650-B460A7639BE5}"/>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9">
                <a:extLst>
                  <a:ext uri="{FF2B5EF4-FFF2-40B4-BE49-F238E27FC236}">
                    <a16:creationId xmlns:a16="http://schemas.microsoft.com/office/drawing/2014/main" id="{FBF9B0D0-CB01-D104-F56E-E05164489B22}"/>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20">
                <a:extLst>
                  <a:ext uri="{FF2B5EF4-FFF2-40B4-BE49-F238E27FC236}">
                    <a16:creationId xmlns:a16="http://schemas.microsoft.com/office/drawing/2014/main" id="{15DDDB03-F9DE-D5E9-B05B-BAAB53122E3C}"/>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8" name="Group 157">
            <a:extLst>
              <a:ext uri="{FF2B5EF4-FFF2-40B4-BE49-F238E27FC236}">
                <a16:creationId xmlns:a16="http://schemas.microsoft.com/office/drawing/2014/main" id="{7B3147CB-504A-2C66-2896-1B244E64DAFC}"/>
              </a:ext>
            </a:extLst>
          </p:cNvPr>
          <p:cNvGrpSpPr/>
          <p:nvPr/>
        </p:nvGrpSpPr>
        <p:grpSpPr>
          <a:xfrm>
            <a:off x="8735123" y="2306777"/>
            <a:ext cx="1883659" cy="1195248"/>
            <a:chOff x="6430073" y="5015052"/>
            <a:chExt cx="1883659" cy="1195248"/>
          </a:xfrm>
        </p:grpSpPr>
        <p:grpSp>
          <p:nvGrpSpPr>
            <p:cNvPr id="159" name="Group 5">
              <a:extLst>
                <a:ext uri="{FF2B5EF4-FFF2-40B4-BE49-F238E27FC236}">
                  <a16:creationId xmlns:a16="http://schemas.microsoft.com/office/drawing/2014/main" id="{9EEF3EF9-F0D2-86B3-0A56-76916B2E10ED}"/>
                </a:ext>
              </a:extLst>
            </p:cNvPr>
            <p:cNvGrpSpPr>
              <a:grpSpLocks noChangeAspect="1"/>
            </p:cNvGrpSpPr>
            <p:nvPr/>
          </p:nvGrpSpPr>
          <p:grpSpPr bwMode="auto">
            <a:xfrm>
              <a:off x="7169213" y="5015052"/>
              <a:ext cx="1144519" cy="959028"/>
              <a:chOff x="3550" y="1917"/>
              <a:chExt cx="580" cy="486"/>
            </a:xfrm>
          </p:grpSpPr>
          <p:sp>
            <p:nvSpPr>
              <p:cNvPr id="176" name="Freeform 6">
                <a:extLst>
                  <a:ext uri="{FF2B5EF4-FFF2-40B4-BE49-F238E27FC236}">
                    <a16:creationId xmlns:a16="http://schemas.microsoft.com/office/drawing/2014/main" id="{D3CE7B84-BAF3-5935-B1B8-C4414702668F}"/>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7">
                <a:extLst>
                  <a:ext uri="{FF2B5EF4-FFF2-40B4-BE49-F238E27FC236}">
                    <a16:creationId xmlns:a16="http://schemas.microsoft.com/office/drawing/2014/main" id="{7F278723-16BE-1558-406D-95FD959080D6}"/>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8">
                <a:extLst>
                  <a:ext uri="{FF2B5EF4-FFF2-40B4-BE49-F238E27FC236}">
                    <a16:creationId xmlns:a16="http://schemas.microsoft.com/office/drawing/2014/main" id="{417D5631-95E6-EEAC-A5EB-7B7EB6B4B44F}"/>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9">
                <a:extLst>
                  <a:ext uri="{FF2B5EF4-FFF2-40B4-BE49-F238E27FC236}">
                    <a16:creationId xmlns:a16="http://schemas.microsoft.com/office/drawing/2014/main" id="{48BB50F2-8C9B-15BF-2582-2FE5234036DD}"/>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0">
                <a:extLst>
                  <a:ext uri="{FF2B5EF4-FFF2-40B4-BE49-F238E27FC236}">
                    <a16:creationId xmlns:a16="http://schemas.microsoft.com/office/drawing/2014/main" id="{3078D62C-38E7-3149-3298-BC3D46FBF368}"/>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11">
                <a:extLst>
                  <a:ext uri="{FF2B5EF4-FFF2-40B4-BE49-F238E27FC236}">
                    <a16:creationId xmlns:a16="http://schemas.microsoft.com/office/drawing/2014/main" id="{CB7F969C-0DD7-D0FF-A391-FE8F9D2CCA67}"/>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2">
                <a:extLst>
                  <a:ext uri="{FF2B5EF4-FFF2-40B4-BE49-F238E27FC236}">
                    <a16:creationId xmlns:a16="http://schemas.microsoft.com/office/drawing/2014/main" id="{E9CEEC26-9588-950B-3614-9E0D40F68F63}"/>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3">
                <a:extLst>
                  <a:ext uri="{FF2B5EF4-FFF2-40B4-BE49-F238E27FC236}">
                    <a16:creationId xmlns:a16="http://schemas.microsoft.com/office/drawing/2014/main" id="{1AEF9DBE-AD1D-DD7C-FC8F-BE01176134E3}"/>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
                <a:extLst>
                  <a:ext uri="{FF2B5EF4-FFF2-40B4-BE49-F238E27FC236}">
                    <a16:creationId xmlns:a16="http://schemas.microsoft.com/office/drawing/2014/main" id="{C0F5E94B-4F7B-16F1-C644-5764A91D26E9}"/>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15">
                <a:extLst>
                  <a:ext uri="{FF2B5EF4-FFF2-40B4-BE49-F238E27FC236}">
                    <a16:creationId xmlns:a16="http://schemas.microsoft.com/office/drawing/2014/main" id="{96B471A1-5F19-7CCB-74D4-686374B03C01}"/>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6">
                <a:extLst>
                  <a:ext uri="{FF2B5EF4-FFF2-40B4-BE49-F238E27FC236}">
                    <a16:creationId xmlns:a16="http://schemas.microsoft.com/office/drawing/2014/main" id="{37FBD428-05D3-2EBE-475F-1E274187D58D}"/>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7">
                <a:extLst>
                  <a:ext uri="{FF2B5EF4-FFF2-40B4-BE49-F238E27FC236}">
                    <a16:creationId xmlns:a16="http://schemas.microsoft.com/office/drawing/2014/main" id="{9DDAAEBD-1057-69ED-5209-1ED9D29E362E}"/>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18">
                <a:extLst>
                  <a:ext uri="{FF2B5EF4-FFF2-40B4-BE49-F238E27FC236}">
                    <a16:creationId xmlns:a16="http://schemas.microsoft.com/office/drawing/2014/main" id="{449BECD0-1833-2CC1-AE2C-62787B353954}"/>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9">
                <a:extLst>
                  <a:ext uri="{FF2B5EF4-FFF2-40B4-BE49-F238E27FC236}">
                    <a16:creationId xmlns:a16="http://schemas.microsoft.com/office/drawing/2014/main" id="{E0730641-D231-10AC-3952-23420774E5C7}"/>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20">
                <a:extLst>
                  <a:ext uri="{FF2B5EF4-FFF2-40B4-BE49-F238E27FC236}">
                    <a16:creationId xmlns:a16="http://schemas.microsoft.com/office/drawing/2014/main" id="{25BF1E98-95CE-ACC1-A919-665B0AEC4CD7}"/>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5">
              <a:extLst>
                <a:ext uri="{FF2B5EF4-FFF2-40B4-BE49-F238E27FC236}">
                  <a16:creationId xmlns:a16="http://schemas.microsoft.com/office/drawing/2014/main" id="{096BFF61-51DD-ED7C-173F-ABFE28DF7880}"/>
                </a:ext>
              </a:extLst>
            </p:cNvPr>
            <p:cNvGrpSpPr>
              <a:grpSpLocks noChangeAspect="1"/>
            </p:cNvGrpSpPr>
            <p:nvPr/>
          </p:nvGrpSpPr>
          <p:grpSpPr bwMode="auto">
            <a:xfrm>
              <a:off x="6430073" y="5251272"/>
              <a:ext cx="1144519" cy="959028"/>
              <a:chOff x="3550" y="1917"/>
              <a:chExt cx="580" cy="486"/>
            </a:xfrm>
          </p:grpSpPr>
          <p:sp>
            <p:nvSpPr>
              <p:cNvPr id="161" name="Freeform 6">
                <a:extLst>
                  <a:ext uri="{FF2B5EF4-FFF2-40B4-BE49-F238E27FC236}">
                    <a16:creationId xmlns:a16="http://schemas.microsoft.com/office/drawing/2014/main" id="{B286AC30-5743-C471-D24D-DD4AB97AF786}"/>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D6A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
                <a:extLst>
                  <a:ext uri="{FF2B5EF4-FFF2-40B4-BE49-F238E27FC236}">
                    <a16:creationId xmlns:a16="http://schemas.microsoft.com/office/drawing/2014/main" id="{70AD4FF0-C416-CE51-31C5-AC5B31586530}"/>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
                <a:extLst>
                  <a:ext uri="{FF2B5EF4-FFF2-40B4-BE49-F238E27FC236}">
                    <a16:creationId xmlns:a16="http://schemas.microsoft.com/office/drawing/2014/main" id="{5805C60B-A4DB-13DB-C26C-E845728E41E4}"/>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
                <a:extLst>
                  <a:ext uri="{FF2B5EF4-FFF2-40B4-BE49-F238E27FC236}">
                    <a16:creationId xmlns:a16="http://schemas.microsoft.com/office/drawing/2014/main" id="{F1F2231A-D670-5C0A-1BEF-29F7B6C1F3BF}"/>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0">
                <a:extLst>
                  <a:ext uri="{FF2B5EF4-FFF2-40B4-BE49-F238E27FC236}">
                    <a16:creationId xmlns:a16="http://schemas.microsoft.com/office/drawing/2014/main" id="{1137F051-7D61-1CE1-09F8-A217007FA9A2}"/>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1">
                <a:extLst>
                  <a:ext uri="{FF2B5EF4-FFF2-40B4-BE49-F238E27FC236}">
                    <a16:creationId xmlns:a16="http://schemas.microsoft.com/office/drawing/2014/main" id="{2FE2EF51-7251-6A58-64E7-3F3EB6826E51}"/>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12">
                <a:extLst>
                  <a:ext uri="{FF2B5EF4-FFF2-40B4-BE49-F238E27FC236}">
                    <a16:creationId xmlns:a16="http://schemas.microsoft.com/office/drawing/2014/main" id="{E81C01D8-6FD2-8E6E-1A46-7554E54418F0}"/>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3">
                <a:extLst>
                  <a:ext uri="{FF2B5EF4-FFF2-40B4-BE49-F238E27FC236}">
                    <a16:creationId xmlns:a16="http://schemas.microsoft.com/office/drawing/2014/main" id="{447F546D-6C7D-C668-A04B-E814E39287A7}"/>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4">
                <a:extLst>
                  <a:ext uri="{FF2B5EF4-FFF2-40B4-BE49-F238E27FC236}">
                    <a16:creationId xmlns:a16="http://schemas.microsoft.com/office/drawing/2014/main" id="{D8B1C66D-D5B1-F45D-26F7-AF95E1DCE966}"/>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15">
                <a:extLst>
                  <a:ext uri="{FF2B5EF4-FFF2-40B4-BE49-F238E27FC236}">
                    <a16:creationId xmlns:a16="http://schemas.microsoft.com/office/drawing/2014/main" id="{F7F6944F-34E5-A7CF-C66F-94FA2E3B1113}"/>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6">
                <a:extLst>
                  <a:ext uri="{FF2B5EF4-FFF2-40B4-BE49-F238E27FC236}">
                    <a16:creationId xmlns:a16="http://schemas.microsoft.com/office/drawing/2014/main" id="{9E257E37-BEFD-001B-324F-D1B479B7C361}"/>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7">
                <a:extLst>
                  <a:ext uri="{FF2B5EF4-FFF2-40B4-BE49-F238E27FC236}">
                    <a16:creationId xmlns:a16="http://schemas.microsoft.com/office/drawing/2014/main" id="{FFBB17E5-4EBA-0592-ECF4-73633DDD5A0D}"/>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8">
                <a:extLst>
                  <a:ext uri="{FF2B5EF4-FFF2-40B4-BE49-F238E27FC236}">
                    <a16:creationId xmlns:a16="http://schemas.microsoft.com/office/drawing/2014/main" id="{0AE068EE-46E2-2EEA-35E5-492346DD5BE6}"/>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9">
                <a:extLst>
                  <a:ext uri="{FF2B5EF4-FFF2-40B4-BE49-F238E27FC236}">
                    <a16:creationId xmlns:a16="http://schemas.microsoft.com/office/drawing/2014/main" id="{DF3B012A-2687-EC72-2517-F94B1EB25391}"/>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20">
                <a:extLst>
                  <a:ext uri="{FF2B5EF4-FFF2-40B4-BE49-F238E27FC236}">
                    <a16:creationId xmlns:a16="http://schemas.microsoft.com/office/drawing/2014/main" id="{2508FAC3-4518-C0FC-846F-25F88468D029}"/>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1" name="Group 190">
            <a:extLst>
              <a:ext uri="{FF2B5EF4-FFF2-40B4-BE49-F238E27FC236}">
                <a16:creationId xmlns:a16="http://schemas.microsoft.com/office/drawing/2014/main" id="{DD9B2BE8-CF34-5E32-0163-A7D6D8C1E73C}"/>
              </a:ext>
            </a:extLst>
          </p:cNvPr>
          <p:cNvGrpSpPr/>
          <p:nvPr/>
        </p:nvGrpSpPr>
        <p:grpSpPr>
          <a:xfrm>
            <a:off x="9544748" y="1430477"/>
            <a:ext cx="1883659" cy="1195248"/>
            <a:chOff x="6430073" y="5015052"/>
            <a:chExt cx="1883659" cy="1195248"/>
          </a:xfrm>
        </p:grpSpPr>
        <p:grpSp>
          <p:nvGrpSpPr>
            <p:cNvPr id="192" name="Group 5">
              <a:extLst>
                <a:ext uri="{FF2B5EF4-FFF2-40B4-BE49-F238E27FC236}">
                  <a16:creationId xmlns:a16="http://schemas.microsoft.com/office/drawing/2014/main" id="{2DCF3259-6175-F143-E3F7-429F60CB0B5F}"/>
                </a:ext>
              </a:extLst>
            </p:cNvPr>
            <p:cNvGrpSpPr>
              <a:grpSpLocks noChangeAspect="1"/>
            </p:cNvGrpSpPr>
            <p:nvPr/>
          </p:nvGrpSpPr>
          <p:grpSpPr bwMode="auto">
            <a:xfrm>
              <a:off x="7169213" y="5015052"/>
              <a:ext cx="1144519" cy="959028"/>
              <a:chOff x="3550" y="1917"/>
              <a:chExt cx="580" cy="486"/>
            </a:xfrm>
          </p:grpSpPr>
          <p:sp>
            <p:nvSpPr>
              <p:cNvPr id="209" name="Freeform 6">
                <a:extLst>
                  <a:ext uri="{FF2B5EF4-FFF2-40B4-BE49-F238E27FC236}">
                    <a16:creationId xmlns:a16="http://schemas.microsoft.com/office/drawing/2014/main" id="{541E3B80-10A1-D691-CBD0-80D9AF6EC54D}"/>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
                <a:extLst>
                  <a:ext uri="{FF2B5EF4-FFF2-40B4-BE49-F238E27FC236}">
                    <a16:creationId xmlns:a16="http://schemas.microsoft.com/office/drawing/2014/main" id="{3B027603-A156-1935-13BF-EFBA2AD555DC}"/>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8">
                <a:extLst>
                  <a:ext uri="{FF2B5EF4-FFF2-40B4-BE49-F238E27FC236}">
                    <a16:creationId xmlns:a16="http://schemas.microsoft.com/office/drawing/2014/main" id="{8056FAE8-AB33-390D-2A49-E3A7D181CE6D}"/>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9">
                <a:extLst>
                  <a:ext uri="{FF2B5EF4-FFF2-40B4-BE49-F238E27FC236}">
                    <a16:creationId xmlns:a16="http://schemas.microsoft.com/office/drawing/2014/main" id="{683F3723-CABD-6326-13E0-84CF1B9B8A9D}"/>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0">
                <a:extLst>
                  <a:ext uri="{FF2B5EF4-FFF2-40B4-BE49-F238E27FC236}">
                    <a16:creationId xmlns:a16="http://schemas.microsoft.com/office/drawing/2014/main" id="{F30C5F32-A6C7-804A-6A29-0337EF8A3E67}"/>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11">
                <a:extLst>
                  <a:ext uri="{FF2B5EF4-FFF2-40B4-BE49-F238E27FC236}">
                    <a16:creationId xmlns:a16="http://schemas.microsoft.com/office/drawing/2014/main" id="{D074558B-045E-659C-20AA-2103902A428B}"/>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12">
                <a:extLst>
                  <a:ext uri="{FF2B5EF4-FFF2-40B4-BE49-F238E27FC236}">
                    <a16:creationId xmlns:a16="http://schemas.microsoft.com/office/drawing/2014/main" id="{2E4E5A85-714D-F98A-E206-4F913151F1EF}"/>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3">
                <a:extLst>
                  <a:ext uri="{FF2B5EF4-FFF2-40B4-BE49-F238E27FC236}">
                    <a16:creationId xmlns:a16="http://schemas.microsoft.com/office/drawing/2014/main" id="{A1229EA9-F0C1-53E4-7360-D3479E3C869D}"/>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4">
                <a:extLst>
                  <a:ext uri="{FF2B5EF4-FFF2-40B4-BE49-F238E27FC236}">
                    <a16:creationId xmlns:a16="http://schemas.microsoft.com/office/drawing/2014/main" id="{134083EE-5454-2FBA-4FDD-8695AA56DF55}"/>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5">
                <a:extLst>
                  <a:ext uri="{FF2B5EF4-FFF2-40B4-BE49-F238E27FC236}">
                    <a16:creationId xmlns:a16="http://schemas.microsoft.com/office/drawing/2014/main" id="{3983746E-5DE6-5753-CF4C-A1F21C177853}"/>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16">
                <a:extLst>
                  <a:ext uri="{FF2B5EF4-FFF2-40B4-BE49-F238E27FC236}">
                    <a16:creationId xmlns:a16="http://schemas.microsoft.com/office/drawing/2014/main" id="{08EA6DE6-A79C-506E-0F15-78DD6B57BD51}"/>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7">
                <a:extLst>
                  <a:ext uri="{FF2B5EF4-FFF2-40B4-BE49-F238E27FC236}">
                    <a16:creationId xmlns:a16="http://schemas.microsoft.com/office/drawing/2014/main" id="{2D915FC9-DF3A-CAFC-FB29-3252AC86A7A1}"/>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18">
                <a:extLst>
                  <a:ext uri="{FF2B5EF4-FFF2-40B4-BE49-F238E27FC236}">
                    <a16:creationId xmlns:a16="http://schemas.microsoft.com/office/drawing/2014/main" id="{6EAFC23B-A9FC-0DED-729F-63F7F0FBE545}"/>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9">
                <a:extLst>
                  <a:ext uri="{FF2B5EF4-FFF2-40B4-BE49-F238E27FC236}">
                    <a16:creationId xmlns:a16="http://schemas.microsoft.com/office/drawing/2014/main" id="{A0FA7676-083F-D3E0-BBAE-4AD34BE5306A}"/>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20">
                <a:extLst>
                  <a:ext uri="{FF2B5EF4-FFF2-40B4-BE49-F238E27FC236}">
                    <a16:creationId xmlns:a16="http://schemas.microsoft.com/office/drawing/2014/main" id="{5D70B384-ECA0-5B21-96C0-A6069B7DFDFC}"/>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3" name="Group 5">
              <a:extLst>
                <a:ext uri="{FF2B5EF4-FFF2-40B4-BE49-F238E27FC236}">
                  <a16:creationId xmlns:a16="http://schemas.microsoft.com/office/drawing/2014/main" id="{8848B38A-68A8-1A99-842D-8DBB6C60FC4E}"/>
                </a:ext>
              </a:extLst>
            </p:cNvPr>
            <p:cNvGrpSpPr>
              <a:grpSpLocks noChangeAspect="1"/>
            </p:cNvGrpSpPr>
            <p:nvPr/>
          </p:nvGrpSpPr>
          <p:grpSpPr bwMode="auto">
            <a:xfrm>
              <a:off x="6430073" y="5251272"/>
              <a:ext cx="1144519" cy="959028"/>
              <a:chOff x="3550" y="1917"/>
              <a:chExt cx="580" cy="486"/>
            </a:xfrm>
          </p:grpSpPr>
          <p:sp>
            <p:nvSpPr>
              <p:cNvPr id="194" name="Freeform 6">
                <a:extLst>
                  <a:ext uri="{FF2B5EF4-FFF2-40B4-BE49-F238E27FC236}">
                    <a16:creationId xmlns:a16="http://schemas.microsoft.com/office/drawing/2014/main" id="{6D444324-6DE8-1FCD-21CD-9CBE8EDD864E}"/>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7">
                <a:extLst>
                  <a:ext uri="{FF2B5EF4-FFF2-40B4-BE49-F238E27FC236}">
                    <a16:creationId xmlns:a16="http://schemas.microsoft.com/office/drawing/2014/main" id="{F8833120-65E4-B1FE-C584-D38F97E96DF3}"/>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8">
                <a:extLst>
                  <a:ext uri="{FF2B5EF4-FFF2-40B4-BE49-F238E27FC236}">
                    <a16:creationId xmlns:a16="http://schemas.microsoft.com/office/drawing/2014/main" id="{DD3032B7-90EC-4C75-F221-54410231FFCC}"/>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9">
                <a:extLst>
                  <a:ext uri="{FF2B5EF4-FFF2-40B4-BE49-F238E27FC236}">
                    <a16:creationId xmlns:a16="http://schemas.microsoft.com/office/drawing/2014/main" id="{54D577DE-7A1C-D1FB-2D82-089F27097FE5}"/>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0">
                <a:extLst>
                  <a:ext uri="{FF2B5EF4-FFF2-40B4-BE49-F238E27FC236}">
                    <a16:creationId xmlns:a16="http://schemas.microsoft.com/office/drawing/2014/main" id="{688D772B-C313-5A3E-EF51-56BCD0A07157}"/>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1">
                <a:extLst>
                  <a:ext uri="{FF2B5EF4-FFF2-40B4-BE49-F238E27FC236}">
                    <a16:creationId xmlns:a16="http://schemas.microsoft.com/office/drawing/2014/main" id="{6E3AEA75-DF09-D21E-7357-404FE139D5F1}"/>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2">
                <a:extLst>
                  <a:ext uri="{FF2B5EF4-FFF2-40B4-BE49-F238E27FC236}">
                    <a16:creationId xmlns:a16="http://schemas.microsoft.com/office/drawing/2014/main" id="{EE24C146-AF7D-DAF0-96B3-3BCAE3E84D27}"/>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3">
                <a:extLst>
                  <a:ext uri="{FF2B5EF4-FFF2-40B4-BE49-F238E27FC236}">
                    <a16:creationId xmlns:a16="http://schemas.microsoft.com/office/drawing/2014/main" id="{5085984B-9AC8-4ACE-429D-B082878AE61E}"/>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4">
                <a:extLst>
                  <a:ext uri="{FF2B5EF4-FFF2-40B4-BE49-F238E27FC236}">
                    <a16:creationId xmlns:a16="http://schemas.microsoft.com/office/drawing/2014/main" id="{430379A8-5ED2-C8D6-81A9-CA4CDF52399C}"/>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15">
                <a:extLst>
                  <a:ext uri="{FF2B5EF4-FFF2-40B4-BE49-F238E27FC236}">
                    <a16:creationId xmlns:a16="http://schemas.microsoft.com/office/drawing/2014/main" id="{86E7E06D-BF9E-5691-DE12-07B2634D4885}"/>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
                <a:extLst>
                  <a:ext uri="{FF2B5EF4-FFF2-40B4-BE49-F238E27FC236}">
                    <a16:creationId xmlns:a16="http://schemas.microsoft.com/office/drawing/2014/main" id="{F8909E9B-3D4A-BFA6-CCFC-21F566789478}"/>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7">
                <a:extLst>
                  <a:ext uri="{FF2B5EF4-FFF2-40B4-BE49-F238E27FC236}">
                    <a16:creationId xmlns:a16="http://schemas.microsoft.com/office/drawing/2014/main" id="{CE7F5047-CDE3-4E58-BE7A-A2B14E68C08F}"/>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18">
                <a:extLst>
                  <a:ext uri="{FF2B5EF4-FFF2-40B4-BE49-F238E27FC236}">
                    <a16:creationId xmlns:a16="http://schemas.microsoft.com/office/drawing/2014/main" id="{736C015E-5C6E-8786-92E3-E2765DD11077}"/>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9">
                <a:extLst>
                  <a:ext uri="{FF2B5EF4-FFF2-40B4-BE49-F238E27FC236}">
                    <a16:creationId xmlns:a16="http://schemas.microsoft.com/office/drawing/2014/main" id="{711C5A06-D5C0-0FCC-2897-21916DBA2563}"/>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20">
                <a:extLst>
                  <a:ext uri="{FF2B5EF4-FFF2-40B4-BE49-F238E27FC236}">
                    <a16:creationId xmlns:a16="http://schemas.microsoft.com/office/drawing/2014/main" id="{F9E46AED-FAEB-0F6C-12A0-508A41C1DC01}"/>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1" name="Oval 230">
            <a:extLst>
              <a:ext uri="{FF2B5EF4-FFF2-40B4-BE49-F238E27FC236}">
                <a16:creationId xmlns:a16="http://schemas.microsoft.com/office/drawing/2014/main" id="{CDF4AAC1-C46B-24DC-74D7-0C6228BFB36C}"/>
              </a:ext>
            </a:extLst>
          </p:cNvPr>
          <p:cNvSpPr/>
          <p:nvPr/>
        </p:nvSpPr>
        <p:spPr>
          <a:xfrm>
            <a:off x="729262" y="1729471"/>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F0BE3AA7-ACA4-27D6-3690-D7DC19AAF06E}"/>
              </a:ext>
            </a:extLst>
          </p:cNvPr>
          <p:cNvSpPr/>
          <p:nvPr/>
        </p:nvSpPr>
        <p:spPr>
          <a:xfrm>
            <a:off x="729262" y="2688855"/>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EC1D6E10-2F5F-D9B3-7D74-CDB3B485EE3F}"/>
              </a:ext>
            </a:extLst>
          </p:cNvPr>
          <p:cNvSpPr/>
          <p:nvPr/>
        </p:nvSpPr>
        <p:spPr>
          <a:xfrm>
            <a:off x="729262" y="3621462"/>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E949DCF1-A4F5-13DE-00BB-2EDEBC5FE0F8}"/>
              </a:ext>
            </a:extLst>
          </p:cNvPr>
          <p:cNvSpPr/>
          <p:nvPr/>
        </p:nvSpPr>
        <p:spPr>
          <a:xfrm>
            <a:off x="729262" y="4580846"/>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FD15440F-E2C7-8FFE-9250-CF379AAB5575}"/>
              </a:ext>
            </a:extLst>
          </p:cNvPr>
          <p:cNvSpPr/>
          <p:nvPr/>
        </p:nvSpPr>
        <p:spPr>
          <a:xfrm>
            <a:off x="729262" y="5526060"/>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B495A241-CBB8-D184-7E6A-E7B625CC3AEC}"/>
              </a:ext>
            </a:extLst>
          </p:cNvPr>
          <p:cNvGrpSpPr/>
          <p:nvPr/>
        </p:nvGrpSpPr>
        <p:grpSpPr>
          <a:xfrm>
            <a:off x="822461" y="1850467"/>
            <a:ext cx="225619" cy="170025"/>
            <a:chOff x="6594475" y="2308226"/>
            <a:chExt cx="773113" cy="582613"/>
          </a:xfrm>
          <a:effectLst>
            <a:outerShdw dist="25400" dir="2700000" algn="tl" rotWithShape="0">
              <a:prstClr val="black">
                <a:alpha val="20000"/>
              </a:prstClr>
            </a:outerShdw>
          </a:effectLst>
        </p:grpSpPr>
        <p:sp>
          <p:nvSpPr>
            <p:cNvPr id="238" name="Oval 109">
              <a:extLst>
                <a:ext uri="{FF2B5EF4-FFF2-40B4-BE49-F238E27FC236}">
                  <a16:creationId xmlns:a16="http://schemas.microsoft.com/office/drawing/2014/main" id="{DF389495-DECC-D89D-E631-46330DECD68A}"/>
                </a:ext>
              </a:extLst>
            </p:cNvPr>
            <p:cNvSpPr>
              <a:spLocks noChangeArrowheads="1"/>
            </p:cNvSpPr>
            <p:nvPr/>
          </p:nvSpPr>
          <p:spPr bwMode="auto">
            <a:xfrm>
              <a:off x="6594475" y="2308226"/>
              <a:ext cx="773113" cy="582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9" name="Freeform 110">
              <a:extLst>
                <a:ext uri="{FF2B5EF4-FFF2-40B4-BE49-F238E27FC236}">
                  <a16:creationId xmlns:a16="http://schemas.microsoft.com/office/drawing/2014/main" id="{7476D448-AC2B-A768-0882-6373B4387A0B}"/>
                </a:ext>
              </a:extLst>
            </p:cNvPr>
            <p:cNvSpPr>
              <a:spLocks/>
            </p:cNvSpPr>
            <p:nvPr/>
          </p:nvSpPr>
          <p:spPr bwMode="auto">
            <a:xfrm>
              <a:off x="6788150" y="2406651"/>
              <a:ext cx="385763" cy="385763"/>
            </a:xfrm>
            <a:custGeom>
              <a:avLst/>
              <a:gdLst>
                <a:gd name="T0" fmla="*/ 51 w 102"/>
                <a:gd name="T1" fmla="*/ 0 h 102"/>
                <a:gd name="T2" fmla="*/ 28 w 102"/>
                <a:gd name="T3" fmla="*/ 5 h 102"/>
                <a:gd name="T4" fmla="*/ 38 w 102"/>
                <a:gd name="T5" fmla="*/ 21 h 102"/>
                <a:gd name="T6" fmla="*/ 21 w 102"/>
                <a:gd name="T7" fmla="*/ 38 h 102"/>
                <a:gd name="T8" fmla="*/ 5 w 102"/>
                <a:gd name="T9" fmla="*/ 29 h 102"/>
                <a:gd name="T10" fmla="*/ 0 w 102"/>
                <a:gd name="T11" fmla="*/ 51 h 102"/>
                <a:gd name="T12" fmla="*/ 51 w 102"/>
                <a:gd name="T13" fmla="*/ 102 h 102"/>
                <a:gd name="T14" fmla="*/ 102 w 102"/>
                <a:gd name="T15" fmla="*/ 51 h 102"/>
                <a:gd name="T16" fmla="*/ 51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79"/>
                    <a:pt x="23" y="102"/>
                    <a:pt x="51" y="102"/>
                  </a:cubicBezTo>
                  <a:cubicBezTo>
                    <a:pt x="79" y="102"/>
                    <a:pt x="102" y="79"/>
                    <a:pt x="102" y="51"/>
                  </a:cubicBezTo>
                  <a:cubicBezTo>
                    <a:pt x="102" y="23"/>
                    <a:pt x="79" y="0"/>
                    <a:pt x="51" y="0"/>
                  </a:cubicBez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0" name="Freeform 111">
              <a:extLst>
                <a:ext uri="{FF2B5EF4-FFF2-40B4-BE49-F238E27FC236}">
                  <a16:creationId xmlns:a16="http://schemas.microsoft.com/office/drawing/2014/main" id="{ED204A30-C766-5D24-952F-3A06E667D802}"/>
                </a:ext>
              </a:extLst>
            </p:cNvPr>
            <p:cNvSpPr>
              <a:spLocks/>
            </p:cNvSpPr>
            <p:nvPr/>
          </p:nvSpPr>
          <p:spPr bwMode="auto">
            <a:xfrm>
              <a:off x="6788150" y="2406651"/>
              <a:ext cx="295275" cy="295275"/>
            </a:xfrm>
            <a:custGeom>
              <a:avLst/>
              <a:gdLst>
                <a:gd name="T0" fmla="*/ 51 w 78"/>
                <a:gd name="T1" fmla="*/ 0 h 78"/>
                <a:gd name="T2" fmla="*/ 28 w 78"/>
                <a:gd name="T3" fmla="*/ 5 h 78"/>
                <a:gd name="T4" fmla="*/ 38 w 78"/>
                <a:gd name="T5" fmla="*/ 21 h 78"/>
                <a:gd name="T6" fmla="*/ 21 w 78"/>
                <a:gd name="T7" fmla="*/ 38 h 78"/>
                <a:gd name="T8" fmla="*/ 5 w 78"/>
                <a:gd name="T9" fmla="*/ 29 h 78"/>
                <a:gd name="T10" fmla="*/ 0 w 78"/>
                <a:gd name="T11" fmla="*/ 51 h 78"/>
                <a:gd name="T12" fmla="*/ 8 w 78"/>
                <a:gd name="T13" fmla="*/ 78 h 78"/>
                <a:gd name="T14" fmla="*/ 78 w 78"/>
                <a:gd name="T15" fmla="*/ 8 h 78"/>
                <a:gd name="T16" fmla="*/ 51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61"/>
                    <a:pt x="3" y="70"/>
                    <a:pt x="8" y="78"/>
                  </a:cubicBezTo>
                  <a:cubicBezTo>
                    <a:pt x="78" y="8"/>
                    <a:pt x="78" y="8"/>
                    <a:pt x="78" y="8"/>
                  </a:cubicBezTo>
                  <a:cubicBezTo>
                    <a:pt x="70" y="3"/>
                    <a:pt x="61" y="0"/>
                    <a:pt x="51" y="0"/>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41" name="Group 240">
            <a:extLst>
              <a:ext uri="{FF2B5EF4-FFF2-40B4-BE49-F238E27FC236}">
                <a16:creationId xmlns:a16="http://schemas.microsoft.com/office/drawing/2014/main" id="{188B951B-422A-8708-C57E-C214B7E08E83}"/>
              </a:ext>
            </a:extLst>
          </p:cNvPr>
          <p:cNvGrpSpPr/>
          <p:nvPr/>
        </p:nvGrpSpPr>
        <p:grpSpPr>
          <a:xfrm>
            <a:off x="817314" y="2805789"/>
            <a:ext cx="235913" cy="178149"/>
            <a:chOff x="10531475" y="5465763"/>
            <a:chExt cx="771525" cy="582613"/>
          </a:xfrm>
          <a:effectLst>
            <a:outerShdw dist="25400" dir="2700000" algn="tl" rotWithShape="0">
              <a:prstClr val="black">
                <a:alpha val="20000"/>
              </a:prstClr>
            </a:outerShdw>
          </a:effectLst>
        </p:grpSpPr>
        <p:sp>
          <p:nvSpPr>
            <p:cNvPr id="243" name="Freeform 265">
              <a:extLst>
                <a:ext uri="{FF2B5EF4-FFF2-40B4-BE49-F238E27FC236}">
                  <a16:creationId xmlns:a16="http://schemas.microsoft.com/office/drawing/2014/main" id="{5A850EC4-521F-1E12-B1A0-ECA11A74A79D}"/>
                </a:ext>
              </a:extLst>
            </p:cNvPr>
            <p:cNvSpPr>
              <a:spLocks/>
            </p:cNvSpPr>
            <p:nvPr/>
          </p:nvSpPr>
          <p:spPr bwMode="auto">
            <a:xfrm>
              <a:off x="10531475" y="5465763"/>
              <a:ext cx="771525" cy="582613"/>
            </a:xfrm>
            <a:custGeom>
              <a:avLst/>
              <a:gdLst>
                <a:gd name="T0" fmla="*/ 179 w 204"/>
                <a:gd name="T1" fmla="*/ 0 h 154"/>
                <a:gd name="T2" fmla="*/ 25 w 204"/>
                <a:gd name="T3" fmla="*/ 0 h 154"/>
                <a:gd name="T4" fmla="*/ 0 w 204"/>
                <a:gd name="T5" fmla="*/ 26 h 154"/>
                <a:gd name="T6" fmla="*/ 0 w 204"/>
                <a:gd name="T7" fmla="*/ 147 h 154"/>
                <a:gd name="T8" fmla="*/ 6 w 204"/>
                <a:gd name="T9" fmla="*/ 154 h 154"/>
                <a:gd name="T10" fmla="*/ 198 w 204"/>
                <a:gd name="T11" fmla="*/ 154 h 154"/>
                <a:gd name="T12" fmla="*/ 204 w 204"/>
                <a:gd name="T13" fmla="*/ 147 h 154"/>
                <a:gd name="T14" fmla="*/ 204 w 204"/>
                <a:gd name="T15" fmla="*/ 26 h 154"/>
                <a:gd name="T16" fmla="*/ 179 w 204"/>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4">
                  <a:moveTo>
                    <a:pt x="179" y="0"/>
                  </a:moveTo>
                  <a:cubicBezTo>
                    <a:pt x="25" y="0"/>
                    <a:pt x="25" y="0"/>
                    <a:pt x="25" y="0"/>
                  </a:cubicBezTo>
                  <a:cubicBezTo>
                    <a:pt x="11" y="0"/>
                    <a:pt x="0" y="12"/>
                    <a:pt x="0" y="26"/>
                  </a:cubicBezTo>
                  <a:cubicBezTo>
                    <a:pt x="0" y="147"/>
                    <a:pt x="0" y="147"/>
                    <a:pt x="0" y="147"/>
                  </a:cubicBezTo>
                  <a:cubicBezTo>
                    <a:pt x="0" y="151"/>
                    <a:pt x="2" y="154"/>
                    <a:pt x="6" y="154"/>
                  </a:cubicBezTo>
                  <a:cubicBezTo>
                    <a:pt x="198" y="154"/>
                    <a:pt x="198" y="154"/>
                    <a:pt x="198" y="154"/>
                  </a:cubicBezTo>
                  <a:cubicBezTo>
                    <a:pt x="202" y="154"/>
                    <a:pt x="204" y="151"/>
                    <a:pt x="204" y="147"/>
                  </a:cubicBezTo>
                  <a:cubicBezTo>
                    <a:pt x="204" y="26"/>
                    <a:pt x="204" y="26"/>
                    <a:pt x="204" y="26"/>
                  </a:cubicBezTo>
                  <a:cubicBezTo>
                    <a:pt x="204" y="12"/>
                    <a:pt x="193" y="0"/>
                    <a:pt x="179" y="0"/>
                  </a:cubicBezTo>
                  <a:close/>
                </a:path>
              </a:pathLst>
            </a:custGeom>
            <a:solidFill>
              <a:srgbClr val="059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4" name="Freeform 266">
              <a:extLst>
                <a:ext uri="{FF2B5EF4-FFF2-40B4-BE49-F238E27FC236}">
                  <a16:creationId xmlns:a16="http://schemas.microsoft.com/office/drawing/2014/main" id="{3EFA966D-2D55-D216-EC97-81281EB61F11}"/>
                </a:ext>
              </a:extLst>
            </p:cNvPr>
            <p:cNvSpPr>
              <a:spLocks/>
            </p:cNvSpPr>
            <p:nvPr/>
          </p:nvSpPr>
          <p:spPr bwMode="auto">
            <a:xfrm>
              <a:off x="10531475" y="5465763"/>
              <a:ext cx="525463" cy="530225"/>
            </a:xfrm>
            <a:custGeom>
              <a:avLst/>
              <a:gdLst>
                <a:gd name="T0" fmla="*/ 139 w 139"/>
                <a:gd name="T1" fmla="*/ 0 h 140"/>
                <a:gd name="T2" fmla="*/ 25 w 139"/>
                <a:gd name="T3" fmla="*/ 0 h 140"/>
                <a:gd name="T4" fmla="*/ 0 w 139"/>
                <a:gd name="T5" fmla="*/ 26 h 140"/>
                <a:gd name="T6" fmla="*/ 0 w 139"/>
                <a:gd name="T7" fmla="*/ 140 h 140"/>
                <a:gd name="T8" fmla="*/ 139 w 139"/>
                <a:gd name="T9" fmla="*/ 0 h 140"/>
              </a:gdLst>
              <a:ahLst/>
              <a:cxnLst>
                <a:cxn ang="0">
                  <a:pos x="T0" y="T1"/>
                </a:cxn>
                <a:cxn ang="0">
                  <a:pos x="T2" y="T3"/>
                </a:cxn>
                <a:cxn ang="0">
                  <a:pos x="T4" y="T5"/>
                </a:cxn>
                <a:cxn ang="0">
                  <a:pos x="T6" y="T7"/>
                </a:cxn>
                <a:cxn ang="0">
                  <a:pos x="T8" y="T9"/>
                </a:cxn>
              </a:cxnLst>
              <a:rect l="0" t="0" r="r" b="b"/>
              <a:pathLst>
                <a:path w="139" h="140">
                  <a:moveTo>
                    <a:pt x="139" y="0"/>
                  </a:moveTo>
                  <a:cubicBezTo>
                    <a:pt x="25" y="0"/>
                    <a:pt x="25" y="0"/>
                    <a:pt x="25" y="0"/>
                  </a:cubicBezTo>
                  <a:cubicBezTo>
                    <a:pt x="11" y="0"/>
                    <a:pt x="0" y="12"/>
                    <a:pt x="0" y="26"/>
                  </a:cubicBezTo>
                  <a:cubicBezTo>
                    <a:pt x="0" y="140"/>
                    <a:pt x="0" y="140"/>
                    <a:pt x="0" y="140"/>
                  </a:cubicBezTo>
                  <a:lnTo>
                    <a:pt x="139" y="0"/>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5" name="Freeform 267">
              <a:extLst>
                <a:ext uri="{FF2B5EF4-FFF2-40B4-BE49-F238E27FC236}">
                  <a16:creationId xmlns:a16="http://schemas.microsoft.com/office/drawing/2014/main" id="{4FC2022C-D5AD-6A9F-7888-FA07D500AAD9}"/>
                </a:ext>
              </a:extLst>
            </p:cNvPr>
            <p:cNvSpPr>
              <a:spLocks/>
            </p:cNvSpPr>
            <p:nvPr/>
          </p:nvSpPr>
          <p:spPr bwMode="auto">
            <a:xfrm>
              <a:off x="10531475" y="5465763"/>
              <a:ext cx="771525" cy="147638"/>
            </a:xfrm>
            <a:custGeom>
              <a:avLst/>
              <a:gdLst>
                <a:gd name="T0" fmla="*/ 179 w 204"/>
                <a:gd name="T1" fmla="*/ 0 h 39"/>
                <a:gd name="T2" fmla="*/ 25 w 204"/>
                <a:gd name="T3" fmla="*/ 0 h 39"/>
                <a:gd name="T4" fmla="*/ 0 w 204"/>
                <a:gd name="T5" fmla="*/ 26 h 39"/>
                <a:gd name="T6" fmla="*/ 0 w 204"/>
                <a:gd name="T7" fmla="*/ 39 h 39"/>
                <a:gd name="T8" fmla="*/ 204 w 204"/>
                <a:gd name="T9" fmla="*/ 39 h 39"/>
                <a:gd name="T10" fmla="*/ 204 w 204"/>
                <a:gd name="T11" fmla="*/ 26 h 39"/>
                <a:gd name="T12" fmla="*/ 179 w 20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179" y="0"/>
                  </a:moveTo>
                  <a:cubicBezTo>
                    <a:pt x="25" y="0"/>
                    <a:pt x="25" y="0"/>
                    <a:pt x="25" y="0"/>
                  </a:cubicBezTo>
                  <a:cubicBezTo>
                    <a:pt x="11" y="0"/>
                    <a:pt x="0" y="12"/>
                    <a:pt x="0" y="26"/>
                  </a:cubicBezTo>
                  <a:cubicBezTo>
                    <a:pt x="0" y="39"/>
                    <a:pt x="0" y="39"/>
                    <a:pt x="0" y="39"/>
                  </a:cubicBezTo>
                  <a:cubicBezTo>
                    <a:pt x="204" y="39"/>
                    <a:pt x="204" y="39"/>
                    <a:pt x="204" y="39"/>
                  </a:cubicBezTo>
                  <a:cubicBezTo>
                    <a:pt x="204" y="26"/>
                    <a:pt x="204" y="26"/>
                    <a:pt x="204" y="26"/>
                  </a:cubicBezTo>
                  <a:cubicBezTo>
                    <a:pt x="204" y="12"/>
                    <a:pt x="193"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6" name="Oval 268">
              <a:extLst>
                <a:ext uri="{FF2B5EF4-FFF2-40B4-BE49-F238E27FC236}">
                  <a16:creationId xmlns:a16="http://schemas.microsoft.com/office/drawing/2014/main" id="{9B2E54D9-439B-9FC8-0F70-E070A88FDE53}"/>
                </a:ext>
              </a:extLst>
            </p:cNvPr>
            <p:cNvSpPr>
              <a:spLocks noChangeArrowheads="1"/>
            </p:cNvSpPr>
            <p:nvPr/>
          </p:nvSpPr>
          <p:spPr bwMode="auto">
            <a:xfrm>
              <a:off x="10615613" y="5514975"/>
              <a:ext cx="49213" cy="49213"/>
            </a:xfrm>
            <a:prstGeom prst="ellipse">
              <a:avLst/>
            </a:pr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7" name="Oval 269">
              <a:extLst>
                <a:ext uri="{FF2B5EF4-FFF2-40B4-BE49-F238E27FC236}">
                  <a16:creationId xmlns:a16="http://schemas.microsoft.com/office/drawing/2014/main" id="{3084C996-1C4C-EA4A-E205-B601E6A4E4B9}"/>
                </a:ext>
              </a:extLst>
            </p:cNvPr>
            <p:cNvSpPr>
              <a:spLocks noChangeArrowheads="1"/>
            </p:cNvSpPr>
            <p:nvPr/>
          </p:nvSpPr>
          <p:spPr bwMode="auto">
            <a:xfrm>
              <a:off x="10714038" y="5514975"/>
              <a:ext cx="44450" cy="49213"/>
            </a:xfrm>
            <a:prstGeom prst="ellipse">
              <a:avLst/>
            </a:pr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8" name="Oval 270">
              <a:extLst>
                <a:ext uri="{FF2B5EF4-FFF2-40B4-BE49-F238E27FC236}">
                  <a16:creationId xmlns:a16="http://schemas.microsoft.com/office/drawing/2014/main" id="{4E718838-33DA-898B-7246-FAFD20FB7A85}"/>
                </a:ext>
              </a:extLst>
            </p:cNvPr>
            <p:cNvSpPr>
              <a:spLocks noChangeArrowheads="1"/>
            </p:cNvSpPr>
            <p:nvPr/>
          </p:nvSpPr>
          <p:spPr bwMode="auto">
            <a:xfrm>
              <a:off x="10807700" y="5514975"/>
              <a:ext cx="49213" cy="49213"/>
            </a:xfrm>
            <a:prstGeom prst="ellipse">
              <a:avLst/>
            </a:prstGeom>
            <a:solidFill>
              <a:srgbClr val="4AC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9" name="Freeform 271">
              <a:extLst>
                <a:ext uri="{FF2B5EF4-FFF2-40B4-BE49-F238E27FC236}">
                  <a16:creationId xmlns:a16="http://schemas.microsoft.com/office/drawing/2014/main" id="{F99F5664-3E58-08AE-0630-2D3961238E24}"/>
                </a:ext>
              </a:extLst>
            </p:cNvPr>
            <p:cNvSpPr>
              <a:spLocks/>
            </p:cNvSpPr>
            <p:nvPr/>
          </p:nvSpPr>
          <p:spPr bwMode="auto">
            <a:xfrm>
              <a:off x="10626725" y="5757863"/>
              <a:ext cx="582613" cy="290513"/>
            </a:xfrm>
            <a:custGeom>
              <a:avLst/>
              <a:gdLst>
                <a:gd name="T0" fmla="*/ 132 w 154"/>
                <a:gd name="T1" fmla="*/ 61 h 77"/>
                <a:gd name="T2" fmla="*/ 127 w 154"/>
                <a:gd name="T3" fmla="*/ 49 h 77"/>
                <a:gd name="T4" fmla="*/ 138 w 154"/>
                <a:gd name="T5" fmla="*/ 38 h 77"/>
                <a:gd name="T6" fmla="*/ 138 w 154"/>
                <a:gd name="T7" fmla="*/ 29 h 77"/>
                <a:gd name="T8" fmla="*/ 125 w 154"/>
                <a:gd name="T9" fmla="*/ 16 h 77"/>
                <a:gd name="T10" fmla="*/ 115 w 154"/>
                <a:gd name="T11" fmla="*/ 16 h 77"/>
                <a:gd name="T12" fmla="*/ 105 w 154"/>
                <a:gd name="T13" fmla="*/ 26 h 77"/>
                <a:gd name="T14" fmla="*/ 93 w 154"/>
                <a:gd name="T15" fmla="*/ 21 h 77"/>
                <a:gd name="T16" fmla="*/ 93 w 154"/>
                <a:gd name="T17" fmla="*/ 6 h 77"/>
                <a:gd name="T18" fmla="*/ 87 w 154"/>
                <a:gd name="T19" fmla="*/ 0 h 77"/>
                <a:gd name="T20" fmla="*/ 67 w 154"/>
                <a:gd name="T21" fmla="*/ 0 h 77"/>
                <a:gd name="T22" fmla="*/ 61 w 154"/>
                <a:gd name="T23" fmla="*/ 6 h 77"/>
                <a:gd name="T24" fmla="*/ 61 w 154"/>
                <a:gd name="T25" fmla="*/ 21 h 77"/>
                <a:gd name="T26" fmla="*/ 49 w 154"/>
                <a:gd name="T27" fmla="*/ 26 h 77"/>
                <a:gd name="T28" fmla="*/ 39 w 154"/>
                <a:gd name="T29" fmla="*/ 16 h 77"/>
                <a:gd name="T30" fmla="*/ 29 w 154"/>
                <a:gd name="T31" fmla="*/ 16 h 77"/>
                <a:gd name="T32" fmla="*/ 16 w 154"/>
                <a:gd name="T33" fmla="*/ 29 h 77"/>
                <a:gd name="T34" fmla="*/ 16 w 154"/>
                <a:gd name="T35" fmla="*/ 38 h 77"/>
                <a:gd name="T36" fmla="*/ 27 w 154"/>
                <a:gd name="T37" fmla="*/ 49 h 77"/>
                <a:gd name="T38" fmla="*/ 22 w 154"/>
                <a:gd name="T39" fmla="*/ 61 h 77"/>
                <a:gd name="T40" fmla="*/ 7 w 154"/>
                <a:gd name="T41" fmla="*/ 61 h 77"/>
                <a:gd name="T42" fmla="*/ 0 w 154"/>
                <a:gd name="T43" fmla="*/ 67 h 77"/>
                <a:gd name="T44" fmla="*/ 0 w 154"/>
                <a:gd name="T45" fmla="*/ 77 h 77"/>
                <a:gd name="T46" fmla="*/ 154 w 154"/>
                <a:gd name="T47" fmla="*/ 77 h 77"/>
                <a:gd name="T48" fmla="*/ 154 w 154"/>
                <a:gd name="T49" fmla="*/ 67 h 77"/>
                <a:gd name="T50" fmla="*/ 147 w 154"/>
                <a:gd name="T51" fmla="*/ 61 h 77"/>
                <a:gd name="T52" fmla="*/ 132 w 154"/>
                <a:gd name="T53"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77">
                  <a:moveTo>
                    <a:pt x="132" y="61"/>
                  </a:moveTo>
                  <a:cubicBezTo>
                    <a:pt x="131" y="57"/>
                    <a:pt x="129" y="53"/>
                    <a:pt x="127" y="49"/>
                  </a:cubicBezTo>
                  <a:cubicBezTo>
                    <a:pt x="138" y="38"/>
                    <a:pt x="138" y="38"/>
                    <a:pt x="138" y="38"/>
                  </a:cubicBezTo>
                  <a:cubicBezTo>
                    <a:pt x="141" y="36"/>
                    <a:pt x="141" y="32"/>
                    <a:pt x="138" y="29"/>
                  </a:cubicBezTo>
                  <a:cubicBezTo>
                    <a:pt x="125" y="16"/>
                    <a:pt x="125" y="16"/>
                    <a:pt x="125" y="16"/>
                  </a:cubicBezTo>
                  <a:cubicBezTo>
                    <a:pt x="122" y="13"/>
                    <a:pt x="118" y="13"/>
                    <a:pt x="115" y="16"/>
                  </a:cubicBezTo>
                  <a:cubicBezTo>
                    <a:pt x="105" y="26"/>
                    <a:pt x="105" y="26"/>
                    <a:pt x="105" y="26"/>
                  </a:cubicBezTo>
                  <a:cubicBezTo>
                    <a:pt x="101" y="24"/>
                    <a:pt x="97" y="23"/>
                    <a:pt x="93" y="21"/>
                  </a:cubicBezTo>
                  <a:cubicBezTo>
                    <a:pt x="93" y="6"/>
                    <a:pt x="93" y="6"/>
                    <a:pt x="93" y="6"/>
                  </a:cubicBezTo>
                  <a:cubicBezTo>
                    <a:pt x="93" y="3"/>
                    <a:pt x="90" y="0"/>
                    <a:pt x="87" y="0"/>
                  </a:cubicBezTo>
                  <a:cubicBezTo>
                    <a:pt x="67" y="0"/>
                    <a:pt x="67" y="0"/>
                    <a:pt x="67" y="0"/>
                  </a:cubicBezTo>
                  <a:cubicBezTo>
                    <a:pt x="64" y="0"/>
                    <a:pt x="61" y="3"/>
                    <a:pt x="61" y="6"/>
                  </a:cubicBezTo>
                  <a:cubicBezTo>
                    <a:pt x="61" y="21"/>
                    <a:pt x="61" y="21"/>
                    <a:pt x="61" y="21"/>
                  </a:cubicBezTo>
                  <a:cubicBezTo>
                    <a:pt x="57" y="23"/>
                    <a:pt x="53" y="24"/>
                    <a:pt x="49" y="26"/>
                  </a:cubicBezTo>
                  <a:cubicBezTo>
                    <a:pt x="39" y="16"/>
                    <a:pt x="39" y="16"/>
                    <a:pt x="39" y="16"/>
                  </a:cubicBezTo>
                  <a:cubicBezTo>
                    <a:pt x="36" y="13"/>
                    <a:pt x="32" y="13"/>
                    <a:pt x="29" y="16"/>
                  </a:cubicBezTo>
                  <a:cubicBezTo>
                    <a:pt x="16" y="29"/>
                    <a:pt x="16" y="29"/>
                    <a:pt x="16" y="29"/>
                  </a:cubicBezTo>
                  <a:cubicBezTo>
                    <a:pt x="13" y="32"/>
                    <a:pt x="13" y="36"/>
                    <a:pt x="16" y="38"/>
                  </a:cubicBezTo>
                  <a:cubicBezTo>
                    <a:pt x="27" y="49"/>
                    <a:pt x="27" y="49"/>
                    <a:pt x="27" y="49"/>
                  </a:cubicBezTo>
                  <a:cubicBezTo>
                    <a:pt x="25" y="53"/>
                    <a:pt x="23" y="57"/>
                    <a:pt x="22" y="61"/>
                  </a:cubicBezTo>
                  <a:cubicBezTo>
                    <a:pt x="7" y="61"/>
                    <a:pt x="7" y="61"/>
                    <a:pt x="7" y="61"/>
                  </a:cubicBezTo>
                  <a:cubicBezTo>
                    <a:pt x="3" y="61"/>
                    <a:pt x="0" y="64"/>
                    <a:pt x="0" y="67"/>
                  </a:cubicBezTo>
                  <a:cubicBezTo>
                    <a:pt x="0" y="77"/>
                    <a:pt x="0" y="77"/>
                    <a:pt x="0" y="77"/>
                  </a:cubicBezTo>
                  <a:cubicBezTo>
                    <a:pt x="154" y="77"/>
                    <a:pt x="154" y="77"/>
                    <a:pt x="154" y="77"/>
                  </a:cubicBezTo>
                  <a:cubicBezTo>
                    <a:pt x="154" y="67"/>
                    <a:pt x="154" y="67"/>
                    <a:pt x="154" y="67"/>
                  </a:cubicBezTo>
                  <a:cubicBezTo>
                    <a:pt x="154" y="64"/>
                    <a:pt x="151" y="61"/>
                    <a:pt x="147" y="61"/>
                  </a:cubicBezTo>
                  <a:lnTo>
                    <a:pt x="132"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0" name="Freeform 272">
              <a:extLst>
                <a:ext uri="{FF2B5EF4-FFF2-40B4-BE49-F238E27FC236}">
                  <a16:creationId xmlns:a16="http://schemas.microsoft.com/office/drawing/2014/main" id="{4FAF03A4-BAFA-B942-50EA-F4B68CBD23C7}"/>
                </a:ext>
              </a:extLst>
            </p:cNvPr>
            <p:cNvSpPr>
              <a:spLocks/>
            </p:cNvSpPr>
            <p:nvPr/>
          </p:nvSpPr>
          <p:spPr bwMode="auto">
            <a:xfrm>
              <a:off x="10774363" y="5900738"/>
              <a:ext cx="287338" cy="147638"/>
            </a:xfrm>
            <a:custGeom>
              <a:avLst/>
              <a:gdLst>
                <a:gd name="T0" fmla="*/ 76 w 76"/>
                <a:gd name="T1" fmla="*/ 39 h 39"/>
                <a:gd name="T2" fmla="*/ 0 w 76"/>
                <a:gd name="T3" fmla="*/ 39 h 39"/>
                <a:gd name="T4" fmla="*/ 38 w 76"/>
                <a:gd name="T5" fmla="*/ 0 h 39"/>
                <a:gd name="T6" fmla="*/ 76 w 76"/>
                <a:gd name="T7" fmla="*/ 39 h 39"/>
              </a:gdLst>
              <a:ahLst/>
              <a:cxnLst>
                <a:cxn ang="0">
                  <a:pos x="T0" y="T1"/>
                </a:cxn>
                <a:cxn ang="0">
                  <a:pos x="T2" y="T3"/>
                </a:cxn>
                <a:cxn ang="0">
                  <a:pos x="T4" y="T5"/>
                </a:cxn>
                <a:cxn ang="0">
                  <a:pos x="T6" y="T7"/>
                </a:cxn>
              </a:cxnLst>
              <a:rect l="0" t="0" r="r" b="b"/>
              <a:pathLst>
                <a:path w="76" h="39">
                  <a:moveTo>
                    <a:pt x="76" y="39"/>
                  </a:moveTo>
                  <a:cubicBezTo>
                    <a:pt x="0" y="39"/>
                    <a:pt x="0" y="39"/>
                    <a:pt x="0" y="39"/>
                  </a:cubicBezTo>
                  <a:cubicBezTo>
                    <a:pt x="0" y="18"/>
                    <a:pt x="17" y="0"/>
                    <a:pt x="38" y="0"/>
                  </a:cubicBezTo>
                  <a:cubicBezTo>
                    <a:pt x="59" y="0"/>
                    <a:pt x="76" y="18"/>
                    <a:pt x="76" y="39"/>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1" name="Group 250">
            <a:extLst>
              <a:ext uri="{FF2B5EF4-FFF2-40B4-BE49-F238E27FC236}">
                <a16:creationId xmlns:a16="http://schemas.microsoft.com/office/drawing/2014/main" id="{A3DC2205-836E-B9FF-CA43-40EFB9E8AD2A}"/>
              </a:ext>
            </a:extLst>
          </p:cNvPr>
          <p:cNvGrpSpPr/>
          <p:nvPr/>
        </p:nvGrpSpPr>
        <p:grpSpPr>
          <a:xfrm>
            <a:off x="829466" y="3721447"/>
            <a:ext cx="211609" cy="212047"/>
            <a:chOff x="1217613" y="2216168"/>
            <a:chExt cx="771525" cy="773120"/>
          </a:xfrm>
          <a:effectLst>
            <a:outerShdw dist="25400" dir="2700000" algn="tl" rotWithShape="0">
              <a:prstClr val="black">
                <a:alpha val="20000"/>
              </a:prstClr>
            </a:outerShdw>
          </a:effectLst>
        </p:grpSpPr>
        <p:sp>
          <p:nvSpPr>
            <p:cNvPr id="253" name="Freeform 159">
              <a:extLst>
                <a:ext uri="{FF2B5EF4-FFF2-40B4-BE49-F238E27FC236}">
                  <a16:creationId xmlns:a16="http://schemas.microsoft.com/office/drawing/2014/main" id="{DD303AA7-5268-56F6-4237-2E81A12F552C}"/>
                </a:ext>
              </a:extLst>
            </p:cNvPr>
            <p:cNvSpPr>
              <a:spLocks/>
            </p:cNvSpPr>
            <p:nvPr/>
          </p:nvSpPr>
          <p:spPr bwMode="auto">
            <a:xfrm>
              <a:off x="1217613" y="2216168"/>
              <a:ext cx="579438" cy="773119"/>
            </a:xfrm>
            <a:custGeom>
              <a:avLst/>
              <a:gdLst>
                <a:gd name="T0" fmla="*/ 0 w 153"/>
                <a:gd name="T1" fmla="*/ 12 h 204"/>
                <a:gd name="T2" fmla="*/ 12 w 153"/>
                <a:gd name="T3" fmla="*/ 0 h 204"/>
                <a:gd name="T4" fmla="*/ 102 w 153"/>
                <a:gd name="T5" fmla="*/ 0 h 204"/>
                <a:gd name="T6" fmla="*/ 153 w 153"/>
                <a:gd name="T7" fmla="*/ 43 h 204"/>
                <a:gd name="T8" fmla="*/ 153 w 153"/>
                <a:gd name="T9" fmla="*/ 192 h 204"/>
                <a:gd name="T10" fmla="*/ 141 w 153"/>
                <a:gd name="T11" fmla="*/ 204 h 204"/>
                <a:gd name="T12" fmla="*/ 12 w 153"/>
                <a:gd name="T13" fmla="*/ 204 h 204"/>
                <a:gd name="T14" fmla="*/ 0 w 153"/>
                <a:gd name="T15" fmla="*/ 192 h 204"/>
                <a:gd name="T16" fmla="*/ 0 w 153"/>
                <a:gd name="T1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04">
                  <a:moveTo>
                    <a:pt x="0" y="12"/>
                  </a:moveTo>
                  <a:cubicBezTo>
                    <a:pt x="0" y="5"/>
                    <a:pt x="5" y="0"/>
                    <a:pt x="12" y="0"/>
                  </a:cubicBezTo>
                  <a:cubicBezTo>
                    <a:pt x="102" y="0"/>
                    <a:pt x="102" y="0"/>
                    <a:pt x="102" y="0"/>
                  </a:cubicBezTo>
                  <a:cubicBezTo>
                    <a:pt x="153" y="43"/>
                    <a:pt x="153" y="43"/>
                    <a:pt x="153" y="43"/>
                  </a:cubicBezTo>
                  <a:cubicBezTo>
                    <a:pt x="153" y="192"/>
                    <a:pt x="153" y="192"/>
                    <a:pt x="153" y="192"/>
                  </a:cubicBezTo>
                  <a:cubicBezTo>
                    <a:pt x="153" y="199"/>
                    <a:pt x="148" y="204"/>
                    <a:pt x="141" y="204"/>
                  </a:cubicBezTo>
                  <a:cubicBezTo>
                    <a:pt x="12" y="204"/>
                    <a:pt x="12" y="204"/>
                    <a:pt x="12" y="204"/>
                  </a:cubicBezTo>
                  <a:cubicBezTo>
                    <a:pt x="5" y="204"/>
                    <a:pt x="0" y="199"/>
                    <a:pt x="0" y="192"/>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4" name="Freeform 160">
              <a:extLst>
                <a:ext uri="{FF2B5EF4-FFF2-40B4-BE49-F238E27FC236}">
                  <a16:creationId xmlns:a16="http://schemas.microsoft.com/office/drawing/2014/main" id="{076FAB0E-CF31-DF90-85BB-F73012942B46}"/>
                </a:ext>
              </a:extLst>
            </p:cNvPr>
            <p:cNvSpPr>
              <a:spLocks/>
            </p:cNvSpPr>
            <p:nvPr/>
          </p:nvSpPr>
          <p:spPr bwMode="auto">
            <a:xfrm>
              <a:off x="1603376" y="2216168"/>
              <a:ext cx="193675" cy="163514"/>
            </a:xfrm>
            <a:custGeom>
              <a:avLst/>
              <a:gdLst>
                <a:gd name="T0" fmla="*/ 0 w 51"/>
                <a:gd name="T1" fmla="*/ 0 h 43"/>
                <a:gd name="T2" fmla="*/ 0 w 51"/>
                <a:gd name="T3" fmla="*/ 30 h 43"/>
                <a:gd name="T4" fmla="*/ 12 w 51"/>
                <a:gd name="T5" fmla="*/ 43 h 43"/>
                <a:gd name="T6" fmla="*/ 51 w 51"/>
                <a:gd name="T7" fmla="*/ 43 h 43"/>
                <a:gd name="T8" fmla="*/ 0 w 51"/>
                <a:gd name="T9" fmla="*/ 0 h 43"/>
              </a:gdLst>
              <a:ahLst/>
              <a:cxnLst>
                <a:cxn ang="0">
                  <a:pos x="T0" y="T1"/>
                </a:cxn>
                <a:cxn ang="0">
                  <a:pos x="T2" y="T3"/>
                </a:cxn>
                <a:cxn ang="0">
                  <a:pos x="T4" y="T5"/>
                </a:cxn>
                <a:cxn ang="0">
                  <a:pos x="T6" y="T7"/>
                </a:cxn>
                <a:cxn ang="0">
                  <a:pos x="T8" y="T9"/>
                </a:cxn>
              </a:cxnLst>
              <a:rect l="0" t="0" r="r" b="b"/>
              <a:pathLst>
                <a:path w="51" h="43">
                  <a:moveTo>
                    <a:pt x="0" y="0"/>
                  </a:moveTo>
                  <a:cubicBezTo>
                    <a:pt x="0" y="30"/>
                    <a:pt x="0" y="30"/>
                    <a:pt x="0" y="30"/>
                  </a:cubicBezTo>
                  <a:cubicBezTo>
                    <a:pt x="0" y="37"/>
                    <a:pt x="6" y="43"/>
                    <a:pt x="12" y="43"/>
                  </a:cubicBezTo>
                  <a:cubicBezTo>
                    <a:pt x="51" y="43"/>
                    <a:pt x="51" y="43"/>
                    <a:pt x="51" y="43"/>
                  </a:cubicBezTo>
                  <a:lnTo>
                    <a:pt x="0" y="0"/>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5" name="Freeform 161">
              <a:extLst>
                <a:ext uri="{FF2B5EF4-FFF2-40B4-BE49-F238E27FC236}">
                  <a16:creationId xmlns:a16="http://schemas.microsoft.com/office/drawing/2014/main" id="{23395B9E-BFAF-1931-AB5A-D1EE124B0EAC}"/>
                </a:ext>
              </a:extLst>
            </p:cNvPr>
            <p:cNvSpPr>
              <a:spLocks/>
            </p:cNvSpPr>
            <p:nvPr/>
          </p:nvSpPr>
          <p:spPr bwMode="auto">
            <a:xfrm>
              <a:off x="1868488" y="2311419"/>
              <a:ext cx="120650" cy="593730"/>
            </a:xfrm>
            <a:custGeom>
              <a:avLst/>
              <a:gdLst>
                <a:gd name="T0" fmla="*/ 0 w 76"/>
                <a:gd name="T1" fmla="*/ 81 h 374"/>
                <a:gd name="T2" fmla="*/ 38 w 76"/>
                <a:gd name="T3" fmla="*/ 0 h 374"/>
                <a:gd name="T4" fmla="*/ 76 w 76"/>
                <a:gd name="T5" fmla="*/ 81 h 374"/>
                <a:gd name="T6" fmla="*/ 76 w 76"/>
                <a:gd name="T7" fmla="*/ 374 h 374"/>
                <a:gd name="T8" fmla="*/ 0 w 76"/>
                <a:gd name="T9" fmla="*/ 374 h 374"/>
                <a:gd name="T10" fmla="*/ 0 w 76"/>
                <a:gd name="T11" fmla="*/ 81 h 374"/>
              </a:gdLst>
              <a:ahLst/>
              <a:cxnLst>
                <a:cxn ang="0">
                  <a:pos x="T0" y="T1"/>
                </a:cxn>
                <a:cxn ang="0">
                  <a:pos x="T2" y="T3"/>
                </a:cxn>
                <a:cxn ang="0">
                  <a:pos x="T4" y="T5"/>
                </a:cxn>
                <a:cxn ang="0">
                  <a:pos x="T6" y="T7"/>
                </a:cxn>
                <a:cxn ang="0">
                  <a:pos x="T8" y="T9"/>
                </a:cxn>
                <a:cxn ang="0">
                  <a:pos x="T10" y="T11"/>
                </a:cxn>
              </a:cxnLst>
              <a:rect l="0" t="0" r="r" b="b"/>
              <a:pathLst>
                <a:path w="76" h="374">
                  <a:moveTo>
                    <a:pt x="0" y="81"/>
                  </a:moveTo>
                  <a:lnTo>
                    <a:pt x="38" y="0"/>
                  </a:lnTo>
                  <a:lnTo>
                    <a:pt x="76" y="81"/>
                  </a:lnTo>
                  <a:lnTo>
                    <a:pt x="76" y="374"/>
                  </a:lnTo>
                  <a:lnTo>
                    <a:pt x="0" y="374"/>
                  </a:lnTo>
                  <a:lnTo>
                    <a:pt x="0" y="81"/>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6" name="Freeform 162">
              <a:extLst>
                <a:ext uri="{FF2B5EF4-FFF2-40B4-BE49-F238E27FC236}">
                  <a16:creationId xmlns:a16="http://schemas.microsoft.com/office/drawing/2014/main" id="{F23C4D83-23D1-4149-8DD5-6BE4FC579B93}"/>
                </a:ext>
              </a:extLst>
            </p:cNvPr>
            <p:cNvSpPr>
              <a:spLocks/>
            </p:cNvSpPr>
            <p:nvPr/>
          </p:nvSpPr>
          <p:spPr bwMode="auto">
            <a:xfrm>
              <a:off x="1928813" y="2311419"/>
              <a:ext cx="60325" cy="192089"/>
            </a:xfrm>
            <a:custGeom>
              <a:avLst/>
              <a:gdLst>
                <a:gd name="T0" fmla="*/ 38 w 38"/>
                <a:gd name="T1" fmla="*/ 121 h 121"/>
                <a:gd name="T2" fmla="*/ 38 w 38"/>
                <a:gd name="T3" fmla="*/ 81 h 121"/>
                <a:gd name="T4" fmla="*/ 0 w 38"/>
                <a:gd name="T5" fmla="*/ 0 h 121"/>
                <a:gd name="T6" fmla="*/ 0 w 38"/>
                <a:gd name="T7" fmla="*/ 121 h 121"/>
                <a:gd name="T8" fmla="*/ 38 w 38"/>
                <a:gd name="T9" fmla="*/ 121 h 121"/>
              </a:gdLst>
              <a:ahLst/>
              <a:cxnLst>
                <a:cxn ang="0">
                  <a:pos x="T0" y="T1"/>
                </a:cxn>
                <a:cxn ang="0">
                  <a:pos x="T2" y="T3"/>
                </a:cxn>
                <a:cxn ang="0">
                  <a:pos x="T4" y="T5"/>
                </a:cxn>
                <a:cxn ang="0">
                  <a:pos x="T6" y="T7"/>
                </a:cxn>
                <a:cxn ang="0">
                  <a:pos x="T8" y="T9"/>
                </a:cxn>
              </a:cxnLst>
              <a:rect l="0" t="0" r="r" b="b"/>
              <a:pathLst>
                <a:path w="38" h="121">
                  <a:moveTo>
                    <a:pt x="38" y="121"/>
                  </a:moveTo>
                  <a:lnTo>
                    <a:pt x="38" y="81"/>
                  </a:lnTo>
                  <a:lnTo>
                    <a:pt x="0" y="0"/>
                  </a:lnTo>
                  <a:lnTo>
                    <a:pt x="0" y="121"/>
                  </a:lnTo>
                  <a:lnTo>
                    <a:pt x="38" y="121"/>
                  </a:lnTo>
                  <a:close/>
                </a:path>
              </a:pathLst>
            </a:custGeom>
            <a:solidFill>
              <a:srgbClr val="EDB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7" name="Freeform 163">
              <a:extLst>
                <a:ext uri="{FF2B5EF4-FFF2-40B4-BE49-F238E27FC236}">
                  <a16:creationId xmlns:a16="http://schemas.microsoft.com/office/drawing/2014/main" id="{2C245A7A-74B8-C4C2-1F19-F2B76173F2CD}"/>
                </a:ext>
              </a:extLst>
            </p:cNvPr>
            <p:cNvSpPr>
              <a:spLocks/>
            </p:cNvSpPr>
            <p:nvPr/>
          </p:nvSpPr>
          <p:spPr bwMode="auto">
            <a:xfrm>
              <a:off x="1868488" y="2927375"/>
              <a:ext cx="120650" cy="61913"/>
            </a:xfrm>
            <a:custGeom>
              <a:avLst/>
              <a:gdLst>
                <a:gd name="T0" fmla="*/ 32 w 32"/>
                <a:gd name="T1" fmla="*/ 7 h 16"/>
                <a:gd name="T2" fmla="*/ 23 w 32"/>
                <a:gd name="T3" fmla="*/ 16 h 16"/>
                <a:gd name="T4" fmla="*/ 10 w 32"/>
                <a:gd name="T5" fmla="*/ 16 h 16"/>
                <a:gd name="T6" fmla="*/ 0 w 32"/>
                <a:gd name="T7" fmla="*/ 7 h 16"/>
                <a:gd name="T8" fmla="*/ 0 w 32"/>
                <a:gd name="T9" fmla="*/ 0 h 16"/>
                <a:gd name="T10" fmla="*/ 32 w 32"/>
                <a:gd name="T11" fmla="*/ 0 h 16"/>
                <a:gd name="T12" fmla="*/ 32 w 32"/>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7"/>
                  </a:moveTo>
                  <a:cubicBezTo>
                    <a:pt x="32" y="12"/>
                    <a:pt x="28" y="16"/>
                    <a:pt x="23" y="16"/>
                  </a:cubicBezTo>
                  <a:cubicBezTo>
                    <a:pt x="10" y="16"/>
                    <a:pt x="10" y="16"/>
                    <a:pt x="10" y="16"/>
                  </a:cubicBezTo>
                  <a:cubicBezTo>
                    <a:pt x="5" y="16"/>
                    <a:pt x="0" y="12"/>
                    <a:pt x="0" y="7"/>
                  </a:cubicBezTo>
                  <a:cubicBezTo>
                    <a:pt x="0" y="0"/>
                    <a:pt x="0" y="0"/>
                    <a:pt x="0" y="0"/>
                  </a:cubicBezTo>
                  <a:cubicBezTo>
                    <a:pt x="32" y="0"/>
                    <a:pt x="32" y="0"/>
                    <a:pt x="32" y="0"/>
                  </a:cubicBezTo>
                  <a:lnTo>
                    <a:pt x="32" y="7"/>
                  </a:lnTo>
                  <a:close/>
                </a:path>
              </a:pathLst>
            </a:custGeom>
            <a:solidFill>
              <a:srgbClr val="F793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8" name="Freeform 164">
              <a:extLst>
                <a:ext uri="{FF2B5EF4-FFF2-40B4-BE49-F238E27FC236}">
                  <a16:creationId xmlns:a16="http://schemas.microsoft.com/office/drawing/2014/main" id="{60EC7DA3-1F66-A18F-9E63-2CF045413161}"/>
                </a:ext>
              </a:extLst>
            </p:cNvPr>
            <p:cNvSpPr>
              <a:spLocks/>
            </p:cNvSpPr>
            <p:nvPr/>
          </p:nvSpPr>
          <p:spPr bwMode="auto">
            <a:xfrm>
              <a:off x="1482726" y="2470171"/>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9" name="Freeform 165">
              <a:extLst>
                <a:ext uri="{FF2B5EF4-FFF2-40B4-BE49-F238E27FC236}">
                  <a16:creationId xmlns:a16="http://schemas.microsoft.com/office/drawing/2014/main" id="{EE2DA941-DFA4-39A0-1209-914A219B97E9}"/>
                </a:ext>
              </a:extLst>
            </p:cNvPr>
            <p:cNvSpPr>
              <a:spLocks/>
            </p:cNvSpPr>
            <p:nvPr/>
          </p:nvSpPr>
          <p:spPr bwMode="auto">
            <a:xfrm>
              <a:off x="1482726" y="253049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0" name="Freeform 166">
              <a:extLst>
                <a:ext uri="{FF2B5EF4-FFF2-40B4-BE49-F238E27FC236}">
                  <a16:creationId xmlns:a16="http://schemas.microsoft.com/office/drawing/2014/main" id="{6760F6ED-2B24-3FDB-3246-615E3DA35213}"/>
                </a:ext>
              </a:extLst>
            </p:cNvPr>
            <p:cNvSpPr>
              <a:spLocks/>
            </p:cNvSpPr>
            <p:nvPr/>
          </p:nvSpPr>
          <p:spPr bwMode="auto">
            <a:xfrm>
              <a:off x="1482726" y="2625747"/>
              <a:ext cx="204788" cy="25400"/>
            </a:xfrm>
            <a:custGeom>
              <a:avLst/>
              <a:gdLst>
                <a:gd name="T0" fmla="*/ 54 w 54"/>
                <a:gd name="T1" fmla="*/ 4 h 7"/>
                <a:gd name="T2" fmla="*/ 51 w 54"/>
                <a:gd name="T3" fmla="*/ 7 h 7"/>
                <a:gd name="T4" fmla="*/ 3 w 54"/>
                <a:gd name="T5" fmla="*/ 7 h 7"/>
                <a:gd name="T6" fmla="*/ 0 w 54"/>
                <a:gd name="T7" fmla="*/ 4 h 7"/>
                <a:gd name="T8" fmla="*/ 3 w 54"/>
                <a:gd name="T9" fmla="*/ 0 h 7"/>
                <a:gd name="T10" fmla="*/ 51 w 54"/>
                <a:gd name="T11" fmla="*/ 0 h 7"/>
                <a:gd name="T12" fmla="*/ 54 w 54"/>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54" h="7">
                  <a:moveTo>
                    <a:pt x="54" y="4"/>
                  </a:moveTo>
                  <a:cubicBezTo>
                    <a:pt x="54" y="5"/>
                    <a:pt x="53" y="7"/>
                    <a:pt x="51" y="7"/>
                  </a:cubicBezTo>
                  <a:cubicBezTo>
                    <a:pt x="3" y="7"/>
                    <a:pt x="3" y="7"/>
                    <a:pt x="3" y="7"/>
                  </a:cubicBezTo>
                  <a:cubicBezTo>
                    <a:pt x="1" y="7"/>
                    <a:pt x="0" y="5"/>
                    <a:pt x="0" y="4"/>
                  </a:cubicBezTo>
                  <a:cubicBezTo>
                    <a:pt x="0" y="2"/>
                    <a:pt x="1" y="0"/>
                    <a:pt x="3" y="0"/>
                  </a:cubicBezTo>
                  <a:cubicBezTo>
                    <a:pt x="51" y="0"/>
                    <a:pt x="51" y="0"/>
                    <a:pt x="51" y="0"/>
                  </a:cubicBezTo>
                  <a:cubicBezTo>
                    <a:pt x="53" y="0"/>
                    <a:pt x="54" y="2"/>
                    <a:pt x="54"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1" name="Freeform 167">
              <a:extLst>
                <a:ext uri="{FF2B5EF4-FFF2-40B4-BE49-F238E27FC236}">
                  <a16:creationId xmlns:a16="http://schemas.microsoft.com/office/drawing/2014/main" id="{B99B09AD-8BE3-D15D-629E-DC2E6431DAC4}"/>
                </a:ext>
              </a:extLst>
            </p:cNvPr>
            <p:cNvSpPr>
              <a:spLocks/>
            </p:cNvSpPr>
            <p:nvPr/>
          </p:nvSpPr>
          <p:spPr bwMode="auto">
            <a:xfrm>
              <a:off x="1482726" y="2686072"/>
              <a:ext cx="131763" cy="26988"/>
            </a:xfrm>
            <a:custGeom>
              <a:avLst/>
              <a:gdLst>
                <a:gd name="T0" fmla="*/ 35 w 35"/>
                <a:gd name="T1" fmla="*/ 4 h 7"/>
                <a:gd name="T2" fmla="*/ 32 w 35"/>
                <a:gd name="T3" fmla="*/ 7 h 7"/>
                <a:gd name="T4" fmla="*/ 3 w 35"/>
                <a:gd name="T5" fmla="*/ 7 h 7"/>
                <a:gd name="T6" fmla="*/ 0 w 35"/>
                <a:gd name="T7" fmla="*/ 4 h 7"/>
                <a:gd name="T8" fmla="*/ 3 w 35"/>
                <a:gd name="T9" fmla="*/ 0 h 7"/>
                <a:gd name="T10" fmla="*/ 32 w 35"/>
                <a:gd name="T11" fmla="*/ 0 h 7"/>
                <a:gd name="T12" fmla="*/ 35 w 3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4"/>
                  </a:moveTo>
                  <a:cubicBezTo>
                    <a:pt x="35" y="5"/>
                    <a:pt x="34" y="7"/>
                    <a:pt x="32" y="7"/>
                  </a:cubicBezTo>
                  <a:cubicBezTo>
                    <a:pt x="3" y="7"/>
                    <a:pt x="3" y="7"/>
                    <a:pt x="3" y="7"/>
                  </a:cubicBezTo>
                  <a:cubicBezTo>
                    <a:pt x="1" y="7"/>
                    <a:pt x="0" y="5"/>
                    <a:pt x="0" y="4"/>
                  </a:cubicBezTo>
                  <a:cubicBezTo>
                    <a:pt x="0" y="2"/>
                    <a:pt x="1" y="0"/>
                    <a:pt x="3" y="0"/>
                  </a:cubicBezTo>
                  <a:cubicBezTo>
                    <a:pt x="32" y="0"/>
                    <a:pt x="32" y="0"/>
                    <a:pt x="32" y="0"/>
                  </a:cubicBezTo>
                  <a:cubicBezTo>
                    <a:pt x="34" y="0"/>
                    <a:pt x="35" y="2"/>
                    <a:pt x="35"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2" name="Freeform 168">
              <a:extLst>
                <a:ext uri="{FF2B5EF4-FFF2-40B4-BE49-F238E27FC236}">
                  <a16:creationId xmlns:a16="http://schemas.microsoft.com/office/drawing/2014/main" id="{CF4E7837-07B0-53D7-670B-55000659678E}"/>
                </a:ext>
              </a:extLst>
            </p:cNvPr>
            <p:cNvSpPr>
              <a:spLocks/>
            </p:cNvSpPr>
            <p:nvPr/>
          </p:nvSpPr>
          <p:spPr bwMode="auto">
            <a:xfrm>
              <a:off x="1482726" y="2784498"/>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3" name="Freeform 169">
              <a:extLst>
                <a:ext uri="{FF2B5EF4-FFF2-40B4-BE49-F238E27FC236}">
                  <a16:creationId xmlns:a16="http://schemas.microsoft.com/office/drawing/2014/main" id="{4C3621F7-61DA-DECF-D3B3-915059CE3E53}"/>
                </a:ext>
              </a:extLst>
            </p:cNvPr>
            <p:cNvSpPr>
              <a:spLocks/>
            </p:cNvSpPr>
            <p:nvPr/>
          </p:nvSpPr>
          <p:spPr bwMode="auto">
            <a:xfrm>
              <a:off x="1482726" y="2844824"/>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4" name="Freeform 170">
              <a:extLst>
                <a:ext uri="{FF2B5EF4-FFF2-40B4-BE49-F238E27FC236}">
                  <a16:creationId xmlns:a16="http://schemas.microsoft.com/office/drawing/2014/main" id="{835AC5F1-6111-8DE4-35E9-087243C93106}"/>
                </a:ext>
              </a:extLst>
            </p:cNvPr>
            <p:cNvSpPr>
              <a:spLocks/>
            </p:cNvSpPr>
            <p:nvPr/>
          </p:nvSpPr>
          <p:spPr bwMode="auto">
            <a:xfrm>
              <a:off x="1312863" y="2462233"/>
              <a:ext cx="123825" cy="101601"/>
            </a:xfrm>
            <a:custGeom>
              <a:avLst/>
              <a:gdLst>
                <a:gd name="T0" fmla="*/ 13 w 33"/>
                <a:gd name="T1" fmla="*/ 27 h 27"/>
                <a:gd name="T2" fmla="*/ 1 w 33"/>
                <a:gd name="T3" fmla="*/ 15 h 27"/>
                <a:gd name="T4" fmla="*/ 1 w 33"/>
                <a:gd name="T5" fmla="*/ 11 h 27"/>
                <a:gd name="T6" fmla="*/ 6 w 33"/>
                <a:gd name="T7" fmla="*/ 11 h 27"/>
                <a:gd name="T8" fmla="*/ 13 w 33"/>
                <a:gd name="T9" fmla="*/ 18 h 27"/>
                <a:gd name="T10" fmla="*/ 27 w 33"/>
                <a:gd name="T11" fmla="*/ 1 h 27"/>
                <a:gd name="T12" fmla="*/ 31 w 33"/>
                <a:gd name="T13" fmla="*/ 1 h 27"/>
                <a:gd name="T14" fmla="*/ 31 w 33"/>
                <a:gd name="T15" fmla="*/ 6 h 27"/>
                <a:gd name="T16" fmla="*/ 13 w 3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7">
                  <a:moveTo>
                    <a:pt x="13" y="27"/>
                  </a:moveTo>
                  <a:cubicBezTo>
                    <a:pt x="1" y="15"/>
                    <a:pt x="1" y="15"/>
                    <a:pt x="1" y="15"/>
                  </a:cubicBezTo>
                  <a:cubicBezTo>
                    <a:pt x="0" y="14"/>
                    <a:pt x="0" y="12"/>
                    <a:pt x="1" y="11"/>
                  </a:cubicBezTo>
                  <a:cubicBezTo>
                    <a:pt x="2" y="10"/>
                    <a:pt x="4" y="10"/>
                    <a:pt x="6" y="11"/>
                  </a:cubicBezTo>
                  <a:cubicBezTo>
                    <a:pt x="13" y="18"/>
                    <a:pt x="13" y="18"/>
                    <a:pt x="13" y="18"/>
                  </a:cubicBezTo>
                  <a:cubicBezTo>
                    <a:pt x="27" y="1"/>
                    <a:pt x="27" y="1"/>
                    <a:pt x="27" y="1"/>
                  </a:cubicBezTo>
                  <a:cubicBezTo>
                    <a:pt x="28" y="0"/>
                    <a:pt x="30" y="0"/>
                    <a:pt x="31" y="1"/>
                  </a:cubicBezTo>
                  <a:cubicBezTo>
                    <a:pt x="32" y="2"/>
                    <a:pt x="33" y="4"/>
                    <a:pt x="31" y="6"/>
                  </a:cubicBezTo>
                  <a:lnTo>
                    <a:pt x="13" y="27"/>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5" name="Freeform 171">
              <a:extLst>
                <a:ext uri="{FF2B5EF4-FFF2-40B4-BE49-F238E27FC236}">
                  <a16:creationId xmlns:a16="http://schemas.microsoft.com/office/drawing/2014/main" id="{EA318762-C1FE-606C-0C74-1B6197473133}"/>
                </a:ext>
              </a:extLst>
            </p:cNvPr>
            <p:cNvSpPr>
              <a:spLocks/>
            </p:cNvSpPr>
            <p:nvPr/>
          </p:nvSpPr>
          <p:spPr bwMode="auto">
            <a:xfrm>
              <a:off x="1312863" y="2617809"/>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9 h 28"/>
                <a:gd name="T10" fmla="*/ 27 w 33"/>
                <a:gd name="T11" fmla="*/ 2 h 28"/>
                <a:gd name="T12" fmla="*/ 31 w 33"/>
                <a:gd name="T13" fmla="*/ 2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5"/>
                    <a:pt x="0" y="13"/>
                    <a:pt x="1" y="11"/>
                  </a:cubicBezTo>
                  <a:cubicBezTo>
                    <a:pt x="2" y="10"/>
                    <a:pt x="4" y="10"/>
                    <a:pt x="6" y="11"/>
                  </a:cubicBezTo>
                  <a:cubicBezTo>
                    <a:pt x="13" y="19"/>
                    <a:pt x="13" y="19"/>
                    <a:pt x="13" y="19"/>
                  </a:cubicBezTo>
                  <a:cubicBezTo>
                    <a:pt x="27" y="2"/>
                    <a:pt x="27" y="2"/>
                    <a:pt x="27" y="2"/>
                  </a:cubicBezTo>
                  <a:cubicBezTo>
                    <a:pt x="28" y="1"/>
                    <a:pt x="30" y="0"/>
                    <a:pt x="31" y="2"/>
                  </a:cubicBezTo>
                  <a:cubicBezTo>
                    <a:pt x="32" y="3"/>
                    <a:pt x="33" y="5"/>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6" name="Freeform 172">
              <a:extLst>
                <a:ext uri="{FF2B5EF4-FFF2-40B4-BE49-F238E27FC236}">
                  <a16:creationId xmlns:a16="http://schemas.microsoft.com/office/drawing/2014/main" id="{D8751862-BDAB-CE21-4A09-B1D7FBE66375}"/>
                </a:ext>
              </a:extLst>
            </p:cNvPr>
            <p:cNvSpPr>
              <a:spLocks/>
            </p:cNvSpPr>
            <p:nvPr/>
          </p:nvSpPr>
          <p:spPr bwMode="auto">
            <a:xfrm>
              <a:off x="1312863" y="2776561"/>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8 h 28"/>
                <a:gd name="T10" fmla="*/ 27 w 33"/>
                <a:gd name="T11" fmla="*/ 2 h 28"/>
                <a:gd name="T12" fmla="*/ 31 w 33"/>
                <a:gd name="T13" fmla="*/ 1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4"/>
                    <a:pt x="0" y="12"/>
                    <a:pt x="1" y="11"/>
                  </a:cubicBezTo>
                  <a:cubicBezTo>
                    <a:pt x="2" y="10"/>
                    <a:pt x="4" y="10"/>
                    <a:pt x="6" y="11"/>
                  </a:cubicBezTo>
                  <a:cubicBezTo>
                    <a:pt x="13" y="18"/>
                    <a:pt x="13" y="18"/>
                    <a:pt x="13" y="18"/>
                  </a:cubicBezTo>
                  <a:cubicBezTo>
                    <a:pt x="27" y="2"/>
                    <a:pt x="27" y="2"/>
                    <a:pt x="27" y="2"/>
                  </a:cubicBezTo>
                  <a:cubicBezTo>
                    <a:pt x="28" y="0"/>
                    <a:pt x="30" y="0"/>
                    <a:pt x="31" y="1"/>
                  </a:cubicBezTo>
                  <a:cubicBezTo>
                    <a:pt x="32" y="2"/>
                    <a:pt x="33" y="4"/>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7" name="Rectangle 173">
              <a:extLst>
                <a:ext uri="{FF2B5EF4-FFF2-40B4-BE49-F238E27FC236}">
                  <a16:creationId xmlns:a16="http://schemas.microsoft.com/office/drawing/2014/main" id="{A14ED514-E9EE-107A-308D-E6739BE6C776}"/>
                </a:ext>
              </a:extLst>
            </p:cNvPr>
            <p:cNvSpPr>
              <a:spLocks noChangeArrowheads="1"/>
            </p:cNvSpPr>
            <p:nvPr/>
          </p:nvSpPr>
          <p:spPr bwMode="auto">
            <a:xfrm>
              <a:off x="1868488" y="2894037"/>
              <a:ext cx="120650" cy="33338"/>
            </a:xfrm>
            <a:prstGeom prst="rect">
              <a:avLst/>
            </a:prstGeom>
            <a:solidFill>
              <a:srgbClr val="FAC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8" name="Rectangle 174">
              <a:extLst>
                <a:ext uri="{FF2B5EF4-FFF2-40B4-BE49-F238E27FC236}">
                  <a16:creationId xmlns:a16="http://schemas.microsoft.com/office/drawing/2014/main" id="{681BB068-9074-8AE6-E3BF-63804A9DE56C}"/>
                </a:ext>
              </a:extLst>
            </p:cNvPr>
            <p:cNvSpPr>
              <a:spLocks noChangeArrowheads="1"/>
            </p:cNvSpPr>
            <p:nvPr/>
          </p:nvSpPr>
          <p:spPr bwMode="auto">
            <a:xfrm>
              <a:off x="1868488" y="2905149"/>
              <a:ext cx="60325" cy="22225"/>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9" name="Freeform 175">
              <a:extLst>
                <a:ext uri="{FF2B5EF4-FFF2-40B4-BE49-F238E27FC236}">
                  <a16:creationId xmlns:a16="http://schemas.microsoft.com/office/drawing/2014/main" id="{6DF02467-95F0-EE44-29AC-7F76C98E8518}"/>
                </a:ext>
              </a:extLst>
            </p:cNvPr>
            <p:cNvSpPr>
              <a:spLocks/>
            </p:cNvSpPr>
            <p:nvPr/>
          </p:nvSpPr>
          <p:spPr bwMode="auto">
            <a:xfrm>
              <a:off x="1909763" y="2311419"/>
              <a:ext cx="41275" cy="60326"/>
            </a:xfrm>
            <a:custGeom>
              <a:avLst/>
              <a:gdLst>
                <a:gd name="T0" fmla="*/ 5 w 11"/>
                <a:gd name="T1" fmla="*/ 0 h 16"/>
                <a:gd name="T2" fmla="*/ 0 w 11"/>
                <a:gd name="T3" fmla="*/ 13 h 16"/>
                <a:gd name="T4" fmla="*/ 5 w 11"/>
                <a:gd name="T5" fmla="*/ 16 h 16"/>
                <a:gd name="T6" fmla="*/ 11 w 11"/>
                <a:gd name="T7" fmla="*/ 13 h 16"/>
                <a:gd name="T8" fmla="*/ 5 w 11"/>
                <a:gd name="T9" fmla="*/ 0 h 16"/>
              </a:gdLst>
              <a:ahLst/>
              <a:cxnLst>
                <a:cxn ang="0">
                  <a:pos x="T0" y="T1"/>
                </a:cxn>
                <a:cxn ang="0">
                  <a:pos x="T2" y="T3"/>
                </a:cxn>
                <a:cxn ang="0">
                  <a:pos x="T4" y="T5"/>
                </a:cxn>
                <a:cxn ang="0">
                  <a:pos x="T6" y="T7"/>
                </a:cxn>
                <a:cxn ang="0">
                  <a:pos x="T8" y="T9"/>
                </a:cxn>
              </a:cxnLst>
              <a:rect l="0" t="0" r="r" b="b"/>
              <a:pathLst>
                <a:path w="11" h="16">
                  <a:moveTo>
                    <a:pt x="5" y="0"/>
                  </a:moveTo>
                  <a:cubicBezTo>
                    <a:pt x="0" y="13"/>
                    <a:pt x="0" y="13"/>
                    <a:pt x="0" y="13"/>
                  </a:cubicBezTo>
                  <a:cubicBezTo>
                    <a:pt x="1" y="15"/>
                    <a:pt x="3" y="16"/>
                    <a:pt x="5" y="16"/>
                  </a:cubicBezTo>
                  <a:cubicBezTo>
                    <a:pt x="8" y="16"/>
                    <a:pt x="10" y="15"/>
                    <a:pt x="11" y="13"/>
                  </a:cubicBezTo>
                  <a:lnTo>
                    <a:pt x="5" y="0"/>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0" name="Freeform 176">
              <a:extLst>
                <a:ext uri="{FF2B5EF4-FFF2-40B4-BE49-F238E27FC236}">
                  <a16:creationId xmlns:a16="http://schemas.microsoft.com/office/drawing/2014/main" id="{A0B63756-7687-C7E8-8E07-D5061B20DFD2}"/>
                </a:ext>
              </a:extLst>
            </p:cNvPr>
            <p:cNvSpPr>
              <a:spLocks/>
            </p:cNvSpPr>
            <p:nvPr/>
          </p:nvSpPr>
          <p:spPr bwMode="auto">
            <a:xfrm>
              <a:off x="1868488" y="2432070"/>
              <a:ext cx="120650" cy="473079"/>
            </a:xfrm>
            <a:custGeom>
              <a:avLst/>
              <a:gdLst>
                <a:gd name="T0" fmla="*/ 24 w 32"/>
                <a:gd name="T1" fmla="*/ 7 h 125"/>
                <a:gd name="T2" fmla="*/ 17 w 32"/>
                <a:gd name="T3" fmla="*/ 1 h 125"/>
                <a:gd name="T4" fmla="*/ 16 w 32"/>
                <a:gd name="T5" fmla="*/ 1 h 125"/>
                <a:gd name="T6" fmla="*/ 8 w 32"/>
                <a:gd name="T7" fmla="*/ 7 h 125"/>
                <a:gd name="T8" fmla="*/ 1 w 32"/>
                <a:gd name="T9" fmla="*/ 2 h 125"/>
                <a:gd name="T10" fmla="*/ 0 w 32"/>
                <a:gd name="T11" fmla="*/ 2 h 125"/>
                <a:gd name="T12" fmla="*/ 0 w 32"/>
                <a:gd name="T13" fmla="*/ 125 h 125"/>
                <a:gd name="T14" fmla="*/ 32 w 32"/>
                <a:gd name="T15" fmla="*/ 125 h 125"/>
                <a:gd name="T16" fmla="*/ 32 w 32"/>
                <a:gd name="T17" fmla="*/ 2 h 125"/>
                <a:gd name="T18" fmla="*/ 32 w 32"/>
                <a:gd name="T19" fmla="*/ 2 h 125"/>
                <a:gd name="T20" fmla="*/ 24 w 32"/>
                <a:gd name="T21" fmla="*/ 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5">
                  <a:moveTo>
                    <a:pt x="24" y="7"/>
                  </a:moveTo>
                  <a:cubicBezTo>
                    <a:pt x="21" y="7"/>
                    <a:pt x="18" y="4"/>
                    <a:pt x="17" y="1"/>
                  </a:cubicBezTo>
                  <a:cubicBezTo>
                    <a:pt x="17" y="0"/>
                    <a:pt x="16" y="0"/>
                    <a:pt x="16" y="1"/>
                  </a:cubicBezTo>
                  <a:cubicBezTo>
                    <a:pt x="15" y="4"/>
                    <a:pt x="12" y="7"/>
                    <a:pt x="8" y="7"/>
                  </a:cubicBezTo>
                  <a:cubicBezTo>
                    <a:pt x="5" y="7"/>
                    <a:pt x="2" y="5"/>
                    <a:pt x="1" y="2"/>
                  </a:cubicBezTo>
                  <a:cubicBezTo>
                    <a:pt x="1" y="1"/>
                    <a:pt x="0" y="1"/>
                    <a:pt x="0" y="2"/>
                  </a:cubicBezTo>
                  <a:cubicBezTo>
                    <a:pt x="0" y="125"/>
                    <a:pt x="0" y="125"/>
                    <a:pt x="0" y="125"/>
                  </a:cubicBezTo>
                  <a:cubicBezTo>
                    <a:pt x="32" y="125"/>
                    <a:pt x="32" y="125"/>
                    <a:pt x="32" y="125"/>
                  </a:cubicBezTo>
                  <a:cubicBezTo>
                    <a:pt x="32" y="2"/>
                    <a:pt x="32" y="2"/>
                    <a:pt x="32" y="2"/>
                  </a:cubicBezTo>
                  <a:cubicBezTo>
                    <a:pt x="32" y="1"/>
                    <a:pt x="32" y="1"/>
                    <a:pt x="32" y="2"/>
                  </a:cubicBezTo>
                  <a:cubicBezTo>
                    <a:pt x="31" y="5"/>
                    <a:pt x="28" y="7"/>
                    <a:pt x="24" y="7"/>
                  </a:cubicBezTo>
                  <a:close/>
                </a:path>
              </a:pathLst>
            </a:custGeom>
            <a:solidFill>
              <a:srgbClr val="0484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1" name="Freeform 177">
              <a:extLst>
                <a:ext uri="{FF2B5EF4-FFF2-40B4-BE49-F238E27FC236}">
                  <a16:creationId xmlns:a16="http://schemas.microsoft.com/office/drawing/2014/main" id="{C803A354-8371-9153-B962-1FCFF472B209}"/>
                </a:ext>
              </a:extLst>
            </p:cNvPr>
            <p:cNvSpPr>
              <a:spLocks/>
            </p:cNvSpPr>
            <p:nvPr/>
          </p:nvSpPr>
          <p:spPr bwMode="auto">
            <a:xfrm>
              <a:off x="1868488" y="2432070"/>
              <a:ext cx="60325" cy="473079"/>
            </a:xfrm>
            <a:custGeom>
              <a:avLst/>
              <a:gdLst>
                <a:gd name="T0" fmla="*/ 0 w 16"/>
                <a:gd name="T1" fmla="*/ 125 h 125"/>
                <a:gd name="T2" fmla="*/ 0 w 16"/>
                <a:gd name="T3" fmla="*/ 2 h 125"/>
                <a:gd name="T4" fmla="*/ 1 w 16"/>
                <a:gd name="T5" fmla="*/ 2 h 125"/>
                <a:gd name="T6" fmla="*/ 8 w 16"/>
                <a:gd name="T7" fmla="*/ 7 h 125"/>
                <a:gd name="T8" fmla="*/ 16 w 16"/>
                <a:gd name="T9" fmla="*/ 1 h 125"/>
                <a:gd name="T10" fmla="*/ 16 w 16"/>
                <a:gd name="T11" fmla="*/ 1 h 125"/>
                <a:gd name="T12" fmla="*/ 16 w 16"/>
                <a:gd name="T13" fmla="*/ 125 h 125"/>
                <a:gd name="T14" fmla="*/ 0 w 16"/>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5">
                  <a:moveTo>
                    <a:pt x="0" y="125"/>
                  </a:moveTo>
                  <a:cubicBezTo>
                    <a:pt x="0" y="2"/>
                    <a:pt x="0" y="2"/>
                    <a:pt x="0" y="2"/>
                  </a:cubicBezTo>
                  <a:cubicBezTo>
                    <a:pt x="0" y="1"/>
                    <a:pt x="1" y="1"/>
                    <a:pt x="1" y="2"/>
                  </a:cubicBezTo>
                  <a:cubicBezTo>
                    <a:pt x="2" y="5"/>
                    <a:pt x="5" y="7"/>
                    <a:pt x="8" y="7"/>
                  </a:cubicBezTo>
                  <a:cubicBezTo>
                    <a:pt x="12" y="7"/>
                    <a:pt x="15" y="4"/>
                    <a:pt x="16" y="1"/>
                  </a:cubicBezTo>
                  <a:cubicBezTo>
                    <a:pt x="16" y="0"/>
                    <a:pt x="16" y="0"/>
                    <a:pt x="16" y="1"/>
                  </a:cubicBezTo>
                  <a:cubicBezTo>
                    <a:pt x="16" y="125"/>
                    <a:pt x="16" y="125"/>
                    <a:pt x="16" y="125"/>
                  </a:cubicBezTo>
                  <a:lnTo>
                    <a:pt x="0" y="125"/>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2" name="Freeform 178">
              <a:extLst>
                <a:ext uri="{FF2B5EF4-FFF2-40B4-BE49-F238E27FC236}">
                  <a16:creationId xmlns:a16="http://schemas.microsoft.com/office/drawing/2014/main" id="{50922E3B-6DC0-8435-3CB2-8BE065FFED44}"/>
                </a:ext>
              </a:extLst>
            </p:cNvPr>
            <p:cNvSpPr>
              <a:spLocks/>
            </p:cNvSpPr>
            <p:nvPr/>
          </p:nvSpPr>
          <p:spPr bwMode="auto">
            <a:xfrm>
              <a:off x="1868488" y="2927375"/>
              <a:ext cx="60325" cy="61913"/>
            </a:xfrm>
            <a:custGeom>
              <a:avLst/>
              <a:gdLst>
                <a:gd name="T0" fmla="*/ 0 w 16"/>
                <a:gd name="T1" fmla="*/ 0 h 16"/>
                <a:gd name="T2" fmla="*/ 0 w 16"/>
                <a:gd name="T3" fmla="*/ 7 h 16"/>
                <a:gd name="T4" fmla="*/ 10 w 16"/>
                <a:gd name="T5" fmla="*/ 16 h 16"/>
                <a:gd name="T6" fmla="*/ 16 w 16"/>
                <a:gd name="T7" fmla="*/ 16 h 16"/>
                <a:gd name="T8" fmla="*/ 16 w 16"/>
                <a:gd name="T9" fmla="*/ 0 h 16"/>
                <a:gd name="T10" fmla="*/ 0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0" y="0"/>
                  </a:moveTo>
                  <a:cubicBezTo>
                    <a:pt x="0" y="7"/>
                    <a:pt x="0" y="7"/>
                    <a:pt x="0" y="7"/>
                  </a:cubicBezTo>
                  <a:cubicBezTo>
                    <a:pt x="0" y="12"/>
                    <a:pt x="5" y="16"/>
                    <a:pt x="10" y="16"/>
                  </a:cubicBezTo>
                  <a:cubicBezTo>
                    <a:pt x="16" y="16"/>
                    <a:pt x="16" y="16"/>
                    <a:pt x="16" y="16"/>
                  </a:cubicBezTo>
                  <a:cubicBezTo>
                    <a:pt x="16" y="0"/>
                    <a:pt x="16" y="0"/>
                    <a:pt x="16" y="0"/>
                  </a:cubicBezTo>
                  <a:lnTo>
                    <a:pt x="0" y="0"/>
                  </a:ln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73" name="Group 272">
            <a:extLst>
              <a:ext uri="{FF2B5EF4-FFF2-40B4-BE49-F238E27FC236}">
                <a16:creationId xmlns:a16="http://schemas.microsoft.com/office/drawing/2014/main" id="{3F2DA1A4-821C-5F02-4D2F-D3D10B0A9987}"/>
              </a:ext>
            </a:extLst>
          </p:cNvPr>
          <p:cNvGrpSpPr/>
          <p:nvPr/>
        </p:nvGrpSpPr>
        <p:grpSpPr>
          <a:xfrm>
            <a:off x="833640" y="4685224"/>
            <a:ext cx="203261" cy="203261"/>
            <a:chOff x="6773863" y="639763"/>
            <a:chExt cx="771525" cy="771526"/>
          </a:xfrm>
          <a:effectLst>
            <a:outerShdw dist="25400" dir="2700000" algn="tl" rotWithShape="0">
              <a:prstClr val="black">
                <a:alpha val="20000"/>
              </a:prstClr>
            </a:outerShdw>
          </a:effectLst>
        </p:grpSpPr>
        <p:sp>
          <p:nvSpPr>
            <p:cNvPr id="275" name="Freeform 54">
              <a:extLst>
                <a:ext uri="{FF2B5EF4-FFF2-40B4-BE49-F238E27FC236}">
                  <a16:creationId xmlns:a16="http://schemas.microsoft.com/office/drawing/2014/main" id="{402E9F8C-F82B-1BC9-3ACA-01D4441803D3}"/>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6" name="Freeform 55">
              <a:extLst>
                <a:ext uri="{FF2B5EF4-FFF2-40B4-BE49-F238E27FC236}">
                  <a16:creationId xmlns:a16="http://schemas.microsoft.com/office/drawing/2014/main" id="{09295359-EB3D-4101-6E64-8AF5AA29AA8F}"/>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7" name="Freeform 56">
              <a:extLst>
                <a:ext uri="{FF2B5EF4-FFF2-40B4-BE49-F238E27FC236}">
                  <a16:creationId xmlns:a16="http://schemas.microsoft.com/office/drawing/2014/main" id="{02FEFFCF-0536-3174-995E-EF7D329D7026}"/>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8" name="Rectangle 57">
              <a:extLst>
                <a:ext uri="{FF2B5EF4-FFF2-40B4-BE49-F238E27FC236}">
                  <a16:creationId xmlns:a16="http://schemas.microsoft.com/office/drawing/2014/main" id="{5530C0E0-0085-0ACB-95E8-4086FE6E2050}"/>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9" name="Rectangle 58">
              <a:extLst>
                <a:ext uri="{FF2B5EF4-FFF2-40B4-BE49-F238E27FC236}">
                  <a16:creationId xmlns:a16="http://schemas.microsoft.com/office/drawing/2014/main" id="{BA5EE2CF-A8C3-BB50-24B6-7AC99BDB6515}"/>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0" name="Rectangle 59">
              <a:extLst>
                <a:ext uri="{FF2B5EF4-FFF2-40B4-BE49-F238E27FC236}">
                  <a16:creationId xmlns:a16="http://schemas.microsoft.com/office/drawing/2014/main" id="{DA820172-9290-55D7-6B35-773D030B7627}"/>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1" name="Rectangle 60">
              <a:extLst>
                <a:ext uri="{FF2B5EF4-FFF2-40B4-BE49-F238E27FC236}">
                  <a16:creationId xmlns:a16="http://schemas.microsoft.com/office/drawing/2014/main" id="{94908D0E-0D81-2F31-3BC1-AFD97ED11BCA}"/>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2" name="Rectangle 61">
              <a:extLst>
                <a:ext uri="{FF2B5EF4-FFF2-40B4-BE49-F238E27FC236}">
                  <a16:creationId xmlns:a16="http://schemas.microsoft.com/office/drawing/2014/main" id="{1E6DFA57-BDB6-0E24-66CA-E4527BE742D4}"/>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3" name="Rectangle 62">
              <a:extLst>
                <a:ext uri="{FF2B5EF4-FFF2-40B4-BE49-F238E27FC236}">
                  <a16:creationId xmlns:a16="http://schemas.microsoft.com/office/drawing/2014/main" id="{B7FED61B-86A9-DC8E-A6F2-8042CD57CAB7}"/>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4" name="Rectangle 63">
              <a:extLst>
                <a:ext uri="{FF2B5EF4-FFF2-40B4-BE49-F238E27FC236}">
                  <a16:creationId xmlns:a16="http://schemas.microsoft.com/office/drawing/2014/main" id="{87F3D17D-0D9D-2389-783C-FF9FAC70C86E}"/>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5" name="Rectangle 64">
              <a:extLst>
                <a:ext uri="{FF2B5EF4-FFF2-40B4-BE49-F238E27FC236}">
                  <a16:creationId xmlns:a16="http://schemas.microsoft.com/office/drawing/2014/main" id="{1F3A0617-73C3-D579-8C7E-880F18792EED}"/>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6" name="Rectangle 65">
              <a:extLst>
                <a:ext uri="{FF2B5EF4-FFF2-40B4-BE49-F238E27FC236}">
                  <a16:creationId xmlns:a16="http://schemas.microsoft.com/office/drawing/2014/main" id="{203C5905-79E2-11E3-9237-59F6897C1316}"/>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7" name="Rectangle 66">
              <a:extLst>
                <a:ext uri="{FF2B5EF4-FFF2-40B4-BE49-F238E27FC236}">
                  <a16:creationId xmlns:a16="http://schemas.microsoft.com/office/drawing/2014/main" id="{4739C586-C369-59C2-7F4F-660C6360BD59}"/>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8" name="Rectangle 67">
              <a:extLst>
                <a:ext uri="{FF2B5EF4-FFF2-40B4-BE49-F238E27FC236}">
                  <a16:creationId xmlns:a16="http://schemas.microsoft.com/office/drawing/2014/main" id="{D2FCB374-DA4B-43B9-1C78-D2D1D7223F46}"/>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9" name="Rectangle 68">
              <a:extLst>
                <a:ext uri="{FF2B5EF4-FFF2-40B4-BE49-F238E27FC236}">
                  <a16:creationId xmlns:a16="http://schemas.microsoft.com/office/drawing/2014/main" id="{EA753410-7776-8258-B108-661ECE6EA270}"/>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0" name="Freeform 69">
              <a:extLst>
                <a:ext uri="{FF2B5EF4-FFF2-40B4-BE49-F238E27FC236}">
                  <a16:creationId xmlns:a16="http://schemas.microsoft.com/office/drawing/2014/main" id="{54FB70B5-C05D-950F-338F-38DF280E9610}"/>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1" name="Freeform 70">
              <a:extLst>
                <a:ext uri="{FF2B5EF4-FFF2-40B4-BE49-F238E27FC236}">
                  <a16:creationId xmlns:a16="http://schemas.microsoft.com/office/drawing/2014/main" id="{F02347FA-86D5-23B1-8012-9BBAD5E083D2}"/>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2" name="Freeform 71">
              <a:extLst>
                <a:ext uri="{FF2B5EF4-FFF2-40B4-BE49-F238E27FC236}">
                  <a16:creationId xmlns:a16="http://schemas.microsoft.com/office/drawing/2014/main" id="{527790E7-0F0E-0BD8-303E-3C22071F9AF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93" name="Group 292">
            <a:extLst>
              <a:ext uri="{FF2B5EF4-FFF2-40B4-BE49-F238E27FC236}">
                <a16:creationId xmlns:a16="http://schemas.microsoft.com/office/drawing/2014/main" id="{F2CEAC3A-468A-206A-7F24-A7C55F8036B8}"/>
              </a:ext>
            </a:extLst>
          </p:cNvPr>
          <p:cNvGrpSpPr/>
          <p:nvPr/>
        </p:nvGrpSpPr>
        <p:grpSpPr>
          <a:xfrm>
            <a:off x="858095" y="5608589"/>
            <a:ext cx="154350" cy="246959"/>
            <a:chOff x="3175001" y="2228851"/>
            <a:chExt cx="484188" cy="774700"/>
          </a:xfrm>
          <a:effectLst>
            <a:outerShdw dist="25400" dir="2700000" algn="tl" rotWithShape="0">
              <a:prstClr val="black">
                <a:alpha val="20000"/>
              </a:prstClr>
            </a:outerShdw>
          </a:effectLst>
        </p:grpSpPr>
        <p:sp>
          <p:nvSpPr>
            <p:cNvPr id="295" name="Freeform 111">
              <a:extLst>
                <a:ext uri="{FF2B5EF4-FFF2-40B4-BE49-F238E27FC236}">
                  <a16:creationId xmlns:a16="http://schemas.microsoft.com/office/drawing/2014/main" id="{11FB7C5D-2D64-EAAA-9C96-7A608AECBE10}"/>
                </a:ext>
              </a:extLst>
            </p:cNvPr>
            <p:cNvSpPr>
              <a:spLocks/>
            </p:cNvSpPr>
            <p:nvPr/>
          </p:nvSpPr>
          <p:spPr bwMode="auto">
            <a:xfrm>
              <a:off x="3175001" y="2228851"/>
              <a:ext cx="484188" cy="774700"/>
            </a:xfrm>
            <a:custGeom>
              <a:avLst/>
              <a:gdLst>
                <a:gd name="T0" fmla="*/ 0 w 128"/>
                <a:gd name="T1" fmla="*/ 13 h 205"/>
                <a:gd name="T2" fmla="*/ 13 w 128"/>
                <a:gd name="T3" fmla="*/ 0 h 205"/>
                <a:gd name="T4" fmla="*/ 115 w 128"/>
                <a:gd name="T5" fmla="*/ 0 h 205"/>
                <a:gd name="T6" fmla="*/ 128 w 128"/>
                <a:gd name="T7" fmla="*/ 13 h 205"/>
                <a:gd name="T8" fmla="*/ 128 w 128"/>
                <a:gd name="T9" fmla="*/ 192 h 205"/>
                <a:gd name="T10" fmla="*/ 115 w 128"/>
                <a:gd name="T11" fmla="*/ 205 h 205"/>
                <a:gd name="T12" fmla="*/ 13 w 128"/>
                <a:gd name="T13" fmla="*/ 205 h 205"/>
                <a:gd name="T14" fmla="*/ 0 w 128"/>
                <a:gd name="T15" fmla="*/ 192 h 205"/>
                <a:gd name="T16" fmla="*/ 0 w 12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05">
                  <a:moveTo>
                    <a:pt x="0" y="13"/>
                  </a:moveTo>
                  <a:cubicBezTo>
                    <a:pt x="0" y="6"/>
                    <a:pt x="6" y="0"/>
                    <a:pt x="13" y="0"/>
                  </a:cubicBezTo>
                  <a:cubicBezTo>
                    <a:pt x="115" y="0"/>
                    <a:pt x="115" y="0"/>
                    <a:pt x="115" y="0"/>
                  </a:cubicBezTo>
                  <a:cubicBezTo>
                    <a:pt x="122" y="0"/>
                    <a:pt x="128" y="6"/>
                    <a:pt x="128" y="13"/>
                  </a:cubicBezTo>
                  <a:cubicBezTo>
                    <a:pt x="128" y="192"/>
                    <a:pt x="128" y="192"/>
                    <a:pt x="128" y="192"/>
                  </a:cubicBezTo>
                  <a:cubicBezTo>
                    <a:pt x="128" y="199"/>
                    <a:pt x="122" y="205"/>
                    <a:pt x="115" y="205"/>
                  </a:cubicBezTo>
                  <a:cubicBezTo>
                    <a:pt x="13" y="205"/>
                    <a:pt x="13" y="205"/>
                    <a:pt x="13" y="205"/>
                  </a:cubicBezTo>
                  <a:cubicBezTo>
                    <a:pt x="6" y="205"/>
                    <a:pt x="0" y="199"/>
                    <a:pt x="0" y="192"/>
                  </a:cubicBez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6" name="Freeform 112">
              <a:extLst>
                <a:ext uri="{FF2B5EF4-FFF2-40B4-BE49-F238E27FC236}">
                  <a16:creationId xmlns:a16="http://schemas.microsoft.com/office/drawing/2014/main" id="{CFEB0C2F-D08A-9379-54E0-A9746A25D8B3}"/>
                </a:ext>
              </a:extLst>
            </p:cNvPr>
            <p:cNvSpPr>
              <a:spLocks/>
            </p:cNvSpPr>
            <p:nvPr/>
          </p:nvSpPr>
          <p:spPr bwMode="auto">
            <a:xfrm>
              <a:off x="3224213" y="2278063"/>
              <a:ext cx="385763" cy="676275"/>
            </a:xfrm>
            <a:custGeom>
              <a:avLst/>
              <a:gdLst>
                <a:gd name="T0" fmla="*/ 0 w 102"/>
                <a:gd name="T1" fmla="*/ 172 h 179"/>
                <a:gd name="T2" fmla="*/ 6 w 102"/>
                <a:gd name="T3" fmla="*/ 179 h 179"/>
                <a:gd name="T4" fmla="*/ 96 w 102"/>
                <a:gd name="T5" fmla="*/ 179 h 179"/>
                <a:gd name="T6" fmla="*/ 102 w 102"/>
                <a:gd name="T7" fmla="*/ 172 h 179"/>
                <a:gd name="T8" fmla="*/ 102 w 102"/>
                <a:gd name="T9" fmla="*/ 6 h 179"/>
                <a:gd name="T10" fmla="*/ 96 w 102"/>
                <a:gd name="T11" fmla="*/ 0 h 179"/>
                <a:gd name="T12" fmla="*/ 6 w 102"/>
                <a:gd name="T13" fmla="*/ 0 h 179"/>
                <a:gd name="T14" fmla="*/ 0 w 102"/>
                <a:gd name="T15" fmla="*/ 6 h 179"/>
                <a:gd name="T16" fmla="*/ 0 w 102"/>
                <a:gd name="T17" fmla="*/ 17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79">
                  <a:moveTo>
                    <a:pt x="0" y="172"/>
                  </a:moveTo>
                  <a:cubicBezTo>
                    <a:pt x="0" y="176"/>
                    <a:pt x="3" y="179"/>
                    <a:pt x="6" y="179"/>
                  </a:cubicBezTo>
                  <a:cubicBezTo>
                    <a:pt x="96" y="179"/>
                    <a:pt x="96" y="179"/>
                    <a:pt x="96" y="179"/>
                  </a:cubicBezTo>
                  <a:cubicBezTo>
                    <a:pt x="99" y="179"/>
                    <a:pt x="102" y="176"/>
                    <a:pt x="102" y="172"/>
                  </a:cubicBezTo>
                  <a:cubicBezTo>
                    <a:pt x="102" y="6"/>
                    <a:pt x="102" y="6"/>
                    <a:pt x="102" y="6"/>
                  </a:cubicBezTo>
                  <a:cubicBezTo>
                    <a:pt x="102" y="2"/>
                    <a:pt x="99" y="0"/>
                    <a:pt x="96" y="0"/>
                  </a:cubicBezTo>
                  <a:cubicBezTo>
                    <a:pt x="6" y="0"/>
                    <a:pt x="6" y="0"/>
                    <a:pt x="6" y="0"/>
                  </a:cubicBezTo>
                  <a:cubicBezTo>
                    <a:pt x="3" y="0"/>
                    <a:pt x="0" y="2"/>
                    <a:pt x="0" y="6"/>
                  </a:cubicBezTo>
                  <a:lnTo>
                    <a:pt x="0" y="172"/>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7" name="Freeform 113">
              <a:extLst>
                <a:ext uri="{FF2B5EF4-FFF2-40B4-BE49-F238E27FC236}">
                  <a16:creationId xmlns:a16="http://schemas.microsoft.com/office/drawing/2014/main" id="{D8219189-94E1-15D5-3D13-AC9230C496FC}"/>
                </a:ext>
              </a:extLst>
            </p:cNvPr>
            <p:cNvSpPr>
              <a:spLocks/>
            </p:cNvSpPr>
            <p:nvPr/>
          </p:nvSpPr>
          <p:spPr bwMode="auto">
            <a:xfrm>
              <a:off x="3317876" y="2278063"/>
              <a:ext cx="196850" cy="46038"/>
            </a:xfrm>
            <a:custGeom>
              <a:avLst/>
              <a:gdLst>
                <a:gd name="T0" fmla="*/ 0 w 124"/>
                <a:gd name="T1" fmla="*/ 0 h 29"/>
                <a:gd name="T2" fmla="*/ 31 w 124"/>
                <a:gd name="T3" fmla="*/ 29 h 29"/>
                <a:gd name="T4" fmla="*/ 93 w 124"/>
                <a:gd name="T5" fmla="*/ 29 h 29"/>
                <a:gd name="T6" fmla="*/ 124 w 124"/>
                <a:gd name="T7" fmla="*/ 0 h 29"/>
                <a:gd name="T8" fmla="*/ 0 w 124"/>
                <a:gd name="T9" fmla="*/ 0 h 29"/>
              </a:gdLst>
              <a:ahLst/>
              <a:cxnLst>
                <a:cxn ang="0">
                  <a:pos x="T0" y="T1"/>
                </a:cxn>
                <a:cxn ang="0">
                  <a:pos x="T2" y="T3"/>
                </a:cxn>
                <a:cxn ang="0">
                  <a:pos x="T4" y="T5"/>
                </a:cxn>
                <a:cxn ang="0">
                  <a:pos x="T6" y="T7"/>
                </a:cxn>
                <a:cxn ang="0">
                  <a:pos x="T8" y="T9"/>
                </a:cxn>
              </a:cxnLst>
              <a:rect l="0" t="0" r="r" b="b"/>
              <a:pathLst>
                <a:path w="124" h="29">
                  <a:moveTo>
                    <a:pt x="0" y="0"/>
                  </a:moveTo>
                  <a:lnTo>
                    <a:pt x="31" y="29"/>
                  </a:lnTo>
                  <a:lnTo>
                    <a:pt x="93" y="29"/>
                  </a:lnTo>
                  <a:lnTo>
                    <a:pt x="124" y="0"/>
                  </a:lnTo>
                  <a:lnTo>
                    <a:pt x="0" y="0"/>
                  </a:lnTo>
                  <a:close/>
                </a:path>
              </a:pathLst>
            </a:custGeom>
            <a:solidFill>
              <a:srgbClr val="5B5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8" name="Rectangle 114">
              <a:extLst>
                <a:ext uri="{FF2B5EF4-FFF2-40B4-BE49-F238E27FC236}">
                  <a16:creationId xmlns:a16="http://schemas.microsoft.com/office/drawing/2014/main" id="{C261AB46-7E17-8CC6-CFFC-0A57066EE6E6}"/>
                </a:ext>
              </a:extLst>
            </p:cNvPr>
            <p:cNvSpPr>
              <a:spLocks noChangeArrowheads="1"/>
            </p:cNvSpPr>
            <p:nvPr/>
          </p:nvSpPr>
          <p:spPr bwMode="auto">
            <a:xfrm>
              <a:off x="3273426" y="2373313"/>
              <a:ext cx="93663" cy="968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9" name="Rectangle 115">
              <a:extLst>
                <a:ext uri="{FF2B5EF4-FFF2-40B4-BE49-F238E27FC236}">
                  <a16:creationId xmlns:a16="http://schemas.microsoft.com/office/drawing/2014/main" id="{EAB343C7-A7EF-CD64-8750-6793EE861CAE}"/>
                </a:ext>
              </a:extLst>
            </p:cNvPr>
            <p:cNvSpPr>
              <a:spLocks noChangeArrowheads="1"/>
            </p:cNvSpPr>
            <p:nvPr/>
          </p:nvSpPr>
          <p:spPr bwMode="auto">
            <a:xfrm>
              <a:off x="3367088" y="2373313"/>
              <a:ext cx="98425" cy="968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0" name="Rectangle 116">
              <a:extLst>
                <a:ext uri="{FF2B5EF4-FFF2-40B4-BE49-F238E27FC236}">
                  <a16:creationId xmlns:a16="http://schemas.microsoft.com/office/drawing/2014/main" id="{44F08B5A-463F-5C0A-5D93-5D2DA9D6EACE}"/>
                </a:ext>
              </a:extLst>
            </p:cNvPr>
            <p:cNvSpPr>
              <a:spLocks noChangeArrowheads="1"/>
            </p:cNvSpPr>
            <p:nvPr/>
          </p:nvSpPr>
          <p:spPr bwMode="auto">
            <a:xfrm>
              <a:off x="3465513" y="2373313"/>
              <a:ext cx="95250" cy="968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1" name="Rectangle 117">
              <a:extLst>
                <a:ext uri="{FF2B5EF4-FFF2-40B4-BE49-F238E27FC236}">
                  <a16:creationId xmlns:a16="http://schemas.microsoft.com/office/drawing/2014/main" id="{476D432C-C415-F45B-BACB-C9CDF0B3F764}"/>
                </a:ext>
              </a:extLst>
            </p:cNvPr>
            <p:cNvSpPr>
              <a:spLocks noChangeArrowheads="1"/>
            </p:cNvSpPr>
            <p:nvPr/>
          </p:nvSpPr>
          <p:spPr bwMode="auto">
            <a:xfrm>
              <a:off x="3273426" y="2470151"/>
              <a:ext cx="142875" cy="952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2" name="Rectangle 118">
              <a:extLst>
                <a:ext uri="{FF2B5EF4-FFF2-40B4-BE49-F238E27FC236}">
                  <a16:creationId xmlns:a16="http://schemas.microsoft.com/office/drawing/2014/main" id="{2BB321B4-C89F-2BAB-C030-ED75CB0BB6AA}"/>
                </a:ext>
              </a:extLst>
            </p:cNvPr>
            <p:cNvSpPr>
              <a:spLocks noChangeArrowheads="1"/>
            </p:cNvSpPr>
            <p:nvPr/>
          </p:nvSpPr>
          <p:spPr bwMode="auto">
            <a:xfrm>
              <a:off x="3416301" y="2470151"/>
              <a:ext cx="144463" cy="95250"/>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3" name="Rectangle 119">
              <a:extLst>
                <a:ext uri="{FF2B5EF4-FFF2-40B4-BE49-F238E27FC236}">
                  <a16:creationId xmlns:a16="http://schemas.microsoft.com/office/drawing/2014/main" id="{99BFE541-6C9D-61B3-3A4E-B6B24D93FA6D}"/>
                </a:ext>
              </a:extLst>
            </p:cNvPr>
            <p:cNvSpPr>
              <a:spLocks noChangeArrowheads="1"/>
            </p:cNvSpPr>
            <p:nvPr/>
          </p:nvSpPr>
          <p:spPr bwMode="auto">
            <a:xfrm>
              <a:off x="3273426" y="2565401"/>
              <a:ext cx="142875" cy="1476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4" name="Rectangle 120">
              <a:extLst>
                <a:ext uri="{FF2B5EF4-FFF2-40B4-BE49-F238E27FC236}">
                  <a16:creationId xmlns:a16="http://schemas.microsoft.com/office/drawing/2014/main" id="{AF58CEDB-75C9-BE20-63BA-9CEBC8DCA36A}"/>
                </a:ext>
              </a:extLst>
            </p:cNvPr>
            <p:cNvSpPr>
              <a:spLocks noChangeArrowheads="1"/>
            </p:cNvSpPr>
            <p:nvPr/>
          </p:nvSpPr>
          <p:spPr bwMode="auto">
            <a:xfrm>
              <a:off x="3416301" y="2565401"/>
              <a:ext cx="71438" cy="76200"/>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5" name="Rectangle 121">
              <a:extLst>
                <a:ext uri="{FF2B5EF4-FFF2-40B4-BE49-F238E27FC236}">
                  <a16:creationId xmlns:a16="http://schemas.microsoft.com/office/drawing/2014/main" id="{B5549471-C542-72E9-222F-3E64839C6CAF}"/>
                </a:ext>
              </a:extLst>
            </p:cNvPr>
            <p:cNvSpPr>
              <a:spLocks noChangeArrowheads="1"/>
            </p:cNvSpPr>
            <p:nvPr/>
          </p:nvSpPr>
          <p:spPr bwMode="auto">
            <a:xfrm>
              <a:off x="3416301" y="2641601"/>
              <a:ext cx="71438" cy="714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6" name="Rectangle 122">
              <a:extLst>
                <a:ext uri="{FF2B5EF4-FFF2-40B4-BE49-F238E27FC236}">
                  <a16:creationId xmlns:a16="http://schemas.microsoft.com/office/drawing/2014/main" id="{90E1B5BF-38D4-DA0A-D8F4-DB2951AEFB65}"/>
                </a:ext>
              </a:extLst>
            </p:cNvPr>
            <p:cNvSpPr>
              <a:spLocks noChangeArrowheads="1"/>
            </p:cNvSpPr>
            <p:nvPr/>
          </p:nvSpPr>
          <p:spPr bwMode="auto">
            <a:xfrm>
              <a:off x="3487738" y="2565401"/>
              <a:ext cx="73025" cy="7620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7" name="Rectangle 123">
              <a:extLst>
                <a:ext uri="{FF2B5EF4-FFF2-40B4-BE49-F238E27FC236}">
                  <a16:creationId xmlns:a16="http://schemas.microsoft.com/office/drawing/2014/main" id="{CBD1660E-A1A5-A810-AB69-78F7C4982186}"/>
                </a:ext>
              </a:extLst>
            </p:cNvPr>
            <p:cNvSpPr>
              <a:spLocks noChangeArrowheads="1"/>
            </p:cNvSpPr>
            <p:nvPr/>
          </p:nvSpPr>
          <p:spPr bwMode="auto">
            <a:xfrm>
              <a:off x="3487738" y="2641601"/>
              <a:ext cx="73025" cy="714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8" name="Rectangle 124">
              <a:extLst>
                <a:ext uri="{FF2B5EF4-FFF2-40B4-BE49-F238E27FC236}">
                  <a16:creationId xmlns:a16="http://schemas.microsoft.com/office/drawing/2014/main" id="{AD26F41F-5E8A-E108-B2F4-86C93945560F}"/>
                </a:ext>
              </a:extLst>
            </p:cNvPr>
            <p:cNvSpPr>
              <a:spLocks noChangeArrowheads="1"/>
            </p:cNvSpPr>
            <p:nvPr/>
          </p:nvSpPr>
          <p:spPr bwMode="auto">
            <a:xfrm>
              <a:off x="3273426" y="2713038"/>
              <a:ext cx="287338" cy="93663"/>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9" name="Rectangle 125">
              <a:extLst>
                <a:ext uri="{FF2B5EF4-FFF2-40B4-BE49-F238E27FC236}">
                  <a16:creationId xmlns:a16="http://schemas.microsoft.com/office/drawing/2014/main" id="{23BBCD28-F322-4B1A-1302-8D30AE264117}"/>
                </a:ext>
              </a:extLst>
            </p:cNvPr>
            <p:cNvSpPr>
              <a:spLocks noChangeArrowheads="1"/>
            </p:cNvSpPr>
            <p:nvPr/>
          </p:nvSpPr>
          <p:spPr bwMode="auto">
            <a:xfrm>
              <a:off x="3394076" y="2855913"/>
              <a:ext cx="46038" cy="49213"/>
            </a:xfrm>
            <a:prstGeom prst="rect">
              <a:avLst/>
            </a:prstGeom>
            <a:solidFill>
              <a:srgbClr val="B6BC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10" name="Title 1">
            <a:extLst>
              <a:ext uri="{FF2B5EF4-FFF2-40B4-BE49-F238E27FC236}">
                <a16:creationId xmlns:a16="http://schemas.microsoft.com/office/drawing/2014/main" id="{67499403-0E51-B8D8-7463-DF35BF0C7D83}"/>
              </a:ext>
            </a:extLst>
          </p:cNvPr>
          <p:cNvSpPr txBox="1">
            <a:spLocks/>
          </p:cNvSpPr>
          <p:nvPr/>
        </p:nvSpPr>
        <p:spPr>
          <a:xfrm>
            <a:off x="1298293" y="167983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ata Events</a:t>
            </a:r>
          </a:p>
        </p:txBody>
      </p:sp>
      <p:sp>
        <p:nvSpPr>
          <p:cNvPr id="311" name="Title 1">
            <a:extLst>
              <a:ext uri="{FF2B5EF4-FFF2-40B4-BE49-F238E27FC236}">
                <a16:creationId xmlns:a16="http://schemas.microsoft.com/office/drawing/2014/main" id="{115CF9B0-7B00-84D7-D7C7-6AA962E2B770}"/>
              </a:ext>
            </a:extLst>
          </p:cNvPr>
          <p:cNvSpPr txBox="1">
            <a:spLocks/>
          </p:cNvSpPr>
          <p:nvPr/>
        </p:nvSpPr>
        <p:spPr>
          <a:xfrm>
            <a:off x="1298293" y="262979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Business Events</a:t>
            </a:r>
          </a:p>
        </p:txBody>
      </p:sp>
      <p:sp>
        <p:nvSpPr>
          <p:cNvPr id="312" name="Title 1">
            <a:extLst>
              <a:ext uri="{FF2B5EF4-FFF2-40B4-BE49-F238E27FC236}">
                <a16:creationId xmlns:a16="http://schemas.microsoft.com/office/drawing/2014/main" id="{7FB732EE-6768-8A36-B644-EB9D6EE23DDF}"/>
              </a:ext>
            </a:extLst>
          </p:cNvPr>
          <p:cNvSpPr txBox="1">
            <a:spLocks/>
          </p:cNvSpPr>
          <p:nvPr/>
        </p:nvSpPr>
        <p:spPr>
          <a:xfrm>
            <a:off x="1298293" y="357975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Virtual Entities</a:t>
            </a:r>
          </a:p>
        </p:txBody>
      </p:sp>
      <p:sp>
        <p:nvSpPr>
          <p:cNvPr id="313" name="Title 1">
            <a:extLst>
              <a:ext uri="{FF2B5EF4-FFF2-40B4-BE49-F238E27FC236}">
                <a16:creationId xmlns:a16="http://schemas.microsoft.com/office/drawing/2014/main" id="{187F43CA-314E-DFC7-DEB1-75C3DB58BFB6}"/>
              </a:ext>
            </a:extLst>
          </p:cNvPr>
          <p:cNvSpPr txBox="1">
            <a:spLocks/>
          </p:cNvSpPr>
          <p:nvPr/>
        </p:nvSpPr>
        <p:spPr>
          <a:xfrm>
            <a:off x="1298293" y="452971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ual Write</a:t>
            </a:r>
          </a:p>
        </p:txBody>
      </p:sp>
      <p:sp>
        <p:nvSpPr>
          <p:cNvPr id="314" name="Title 1">
            <a:extLst>
              <a:ext uri="{FF2B5EF4-FFF2-40B4-BE49-F238E27FC236}">
                <a16:creationId xmlns:a16="http://schemas.microsoft.com/office/drawing/2014/main" id="{5941C630-3530-EF99-1AE1-AD6BFBFBFF9D}"/>
              </a:ext>
            </a:extLst>
          </p:cNvPr>
          <p:cNvSpPr txBox="1">
            <a:spLocks/>
          </p:cNvSpPr>
          <p:nvPr/>
        </p:nvSpPr>
        <p:spPr>
          <a:xfrm>
            <a:off x="1298293" y="5479672"/>
            <a:ext cx="141442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Custom Services</a:t>
            </a:r>
          </a:p>
        </p:txBody>
      </p:sp>
      <p:sp>
        <p:nvSpPr>
          <p:cNvPr id="315" name="Title 1">
            <a:extLst>
              <a:ext uri="{FF2B5EF4-FFF2-40B4-BE49-F238E27FC236}">
                <a16:creationId xmlns:a16="http://schemas.microsoft.com/office/drawing/2014/main" id="{23D6CC2B-44C2-AF75-8326-311AAF50786A}"/>
              </a:ext>
            </a:extLst>
          </p:cNvPr>
          <p:cNvSpPr txBox="1">
            <a:spLocks/>
          </p:cNvSpPr>
          <p:nvPr/>
        </p:nvSpPr>
        <p:spPr>
          <a:xfrm>
            <a:off x="2841343" y="1679831"/>
            <a:ext cx="640882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Often used to handle changes in data such as creations, updates, or deletions. These events can trigger integrations or workflows.</a:t>
            </a:r>
          </a:p>
        </p:txBody>
      </p:sp>
      <p:sp>
        <p:nvSpPr>
          <p:cNvPr id="316" name="Title 1">
            <a:extLst>
              <a:ext uri="{FF2B5EF4-FFF2-40B4-BE49-F238E27FC236}">
                <a16:creationId xmlns:a16="http://schemas.microsoft.com/office/drawing/2014/main" id="{EFD93F9F-0CA3-D884-8D18-FA6797B937D3}"/>
              </a:ext>
            </a:extLst>
          </p:cNvPr>
          <p:cNvSpPr txBox="1">
            <a:spLocks/>
          </p:cNvSpPr>
          <p:nvPr/>
        </p:nvSpPr>
        <p:spPr>
          <a:xfrm>
            <a:off x="2841343" y="2629792"/>
            <a:ext cx="571420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These are high-level events that are triggered by business processes or operations, like completing a purchase order or updating a status.</a:t>
            </a:r>
          </a:p>
        </p:txBody>
      </p:sp>
      <p:sp>
        <p:nvSpPr>
          <p:cNvPr id="317" name="Title 1">
            <a:extLst>
              <a:ext uri="{FF2B5EF4-FFF2-40B4-BE49-F238E27FC236}">
                <a16:creationId xmlns:a16="http://schemas.microsoft.com/office/drawing/2014/main" id="{8B7C3E62-A38B-27B9-A079-3B3004B9695B}"/>
              </a:ext>
            </a:extLst>
          </p:cNvPr>
          <p:cNvSpPr txBox="1">
            <a:spLocks/>
          </p:cNvSpPr>
          <p:nvPr/>
        </p:nvSpPr>
        <p:spPr>
          <a:xfrm>
            <a:off x="2841343" y="3541590"/>
            <a:ext cx="4924021" cy="62188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Virtual entities represent data not stored in the local database but viewed and managed as if they were within the system through external integrations.</a:t>
            </a:r>
          </a:p>
        </p:txBody>
      </p:sp>
      <p:sp>
        <p:nvSpPr>
          <p:cNvPr id="318" name="Title 1">
            <a:extLst>
              <a:ext uri="{FF2B5EF4-FFF2-40B4-BE49-F238E27FC236}">
                <a16:creationId xmlns:a16="http://schemas.microsoft.com/office/drawing/2014/main" id="{903D8B21-9F83-DB5F-982F-BB73D290134E}"/>
              </a:ext>
            </a:extLst>
          </p:cNvPr>
          <p:cNvSpPr txBox="1">
            <a:spLocks/>
          </p:cNvSpPr>
          <p:nvPr/>
        </p:nvSpPr>
        <p:spPr>
          <a:xfrm>
            <a:off x="2841343" y="4500346"/>
            <a:ext cx="402691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A near-real-time data integration pattern between Dynamics 365 applications and Dynamics 365 Finance and Operations. </a:t>
            </a:r>
          </a:p>
        </p:txBody>
      </p:sp>
      <p:sp>
        <p:nvSpPr>
          <p:cNvPr id="319" name="Title 1">
            <a:extLst>
              <a:ext uri="{FF2B5EF4-FFF2-40B4-BE49-F238E27FC236}">
                <a16:creationId xmlns:a16="http://schemas.microsoft.com/office/drawing/2014/main" id="{0A20F189-D3AA-E997-7F26-0C2F55943D49}"/>
              </a:ext>
            </a:extLst>
          </p:cNvPr>
          <p:cNvSpPr txBox="1">
            <a:spLocks/>
          </p:cNvSpPr>
          <p:nvPr/>
        </p:nvSpPr>
        <p:spPr>
          <a:xfrm>
            <a:off x="2841344" y="5479672"/>
            <a:ext cx="3369692"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ustom-built services or APIs that cater to specific business needs, extending the capabilities of existing systems.</a:t>
            </a:r>
          </a:p>
        </p:txBody>
      </p:sp>
      <p:cxnSp>
        <p:nvCxnSpPr>
          <p:cNvPr id="321" name="Straight Connector 320">
            <a:extLst>
              <a:ext uri="{FF2B5EF4-FFF2-40B4-BE49-F238E27FC236}">
                <a16:creationId xmlns:a16="http://schemas.microsoft.com/office/drawing/2014/main" id="{96CBDF7D-B220-D97E-0409-F149A0C3E039}"/>
              </a:ext>
            </a:extLst>
          </p:cNvPr>
          <p:cNvCxnSpPr>
            <a:cxnSpLocks/>
          </p:cNvCxnSpPr>
          <p:nvPr/>
        </p:nvCxnSpPr>
        <p:spPr>
          <a:xfrm>
            <a:off x="2712720" y="171449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D91CDCDD-5AEA-0C81-5ADE-B62465BCCB20}"/>
              </a:ext>
            </a:extLst>
          </p:cNvPr>
          <p:cNvCxnSpPr>
            <a:cxnSpLocks/>
          </p:cNvCxnSpPr>
          <p:nvPr/>
        </p:nvCxnSpPr>
        <p:spPr>
          <a:xfrm>
            <a:off x="2712720" y="266446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D45D516B-65B9-F9F5-D4E3-73FD1208AE90}"/>
              </a:ext>
            </a:extLst>
          </p:cNvPr>
          <p:cNvCxnSpPr>
            <a:cxnSpLocks/>
          </p:cNvCxnSpPr>
          <p:nvPr/>
        </p:nvCxnSpPr>
        <p:spPr>
          <a:xfrm>
            <a:off x="2712720" y="361441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81AC0FB0-A9EE-CC3B-BF8C-01D1B504FD81}"/>
              </a:ext>
            </a:extLst>
          </p:cNvPr>
          <p:cNvCxnSpPr>
            <a:cxnSpLocks/>
          </p:cNvCxnSpPr>
          <p:nvPr/>
        </p:nvCxnSpPr>
        <p:spPr>
          <a:xfrm>
            <a:off x="2712720" y="456438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146AE050-4594-F7CC-B856-240AD106C9E1}"/>
              </a:ext>
            </a:extLst>
          </p:cNvPr>
          <p:cNvCxnSpPr>
            <a:cxnSpLocks/>
          </p:cNvCxnSpPr>
          <p:nvPr/>
        </p:nvCxnSpPr>
        <p:spPr>
          <a:xfrm>
            <a:off x="2712720" y="551434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6" name="Slide Number Placeholder 325">
            <a:extLst>
              <a:ext uri="{FF2B5EF4-FFF2-40B4-BE49-F238E27FC236}">
                <a16:creationId xmlns:a16="http://schemas.microsoft.com/office/drawing/2014/main" id="{C1690277-AD64-9414-CF02-2EE2CF25CE79}"/>
              </a:ext>
            </a:extLst>
          </p:cNvPr>
          <p:cNvSpPr>
            <a:spLocks noGrp="1"/>
          </p:cNvSpPr>
          <p:nvPr>
            <p:ph type="sldNum" sz="quarter" idx="12"/>
          </p:nvPr>
        </p:nvSpPr>
        <p:spPr/>
        <p:txBody>
          <a:bodyPr/>
          <a:lstStyle/>
          <a:p>
            <a:fld id="{8D05A9CD-9176-4D89-A414-3BEEE81BBC77}" type="slidenum">
              <a:rPr lang="en-US" smtClean="0"/>
              <a:pPr/>
              <a:t>6</a:t>
            </a:fld>
            <a:endParaRPr lang="en-US"/>
          </a:p>
        </p:txBody>
      </p:sp>
      <p:pic>
        <p:nvPicPr>
          <p:cNvPr id="3" name="Picture 2">
            <a:extLst>
              <a:ext uri="{FF2B5EF4-FFF2-40B4-BE49-F238E27FC236}">
                <a16:creationId xmlns:a16="http://schemas.microsoft.com/office/drawing/2014/main" id="{C9973C0B-9216-DD24-615C-AB1D137CAC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9663761" y="2301717"/>
            <a:ext cx="1963996" cy="4617802"/>
          </a:xfrm>
          <a:prstGeom prst="rect">
            <a:avLst/>
          </a:prstGeom>
        </p:spPr>
      </p:pic>
      <p:pic>
        <p:nvPicPr>
          <p:cNvPr id="7" name="Picture 6" descr="A logo with a rocket in the middle&#10;&#10;Description automatically generated">
            <a:extLst>
              <a:ext uri="{FF2B5EF4-FFF2-40B4-BE49-F238E27FC236}">
                <a16:creationId xmlns:a16="http://schemas.microsoft.com/office/drawing/2014/main" id="{AE9F2C00-DB7D-2192-6BA2-A6D0CEBEE40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840945" y="-79735"/>
            <a:ext cx="3208240" cy="1442679"/>
          </a:xfrm>
          <a:prstGeom prst="rect">
            <a:avLst/>
          </a:prstGeom>
        </p:spPr>
      </p:pic>
      <p:pic>
        <p:nvPicPr>
          <p:cNvPr id="1026" name="Picture 2">
            <a:extLst>
              <a:ext uri="{FF2B5EF4-FFF2-40B4-BE49-F238E27FC236}">
                <a16:creationId xmlns:a16="http://schemas.microsoft.com/office/drawing/2014/main" id="{E8869BA8-35E9-F939-6AF1-858619B29CFF}"/>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18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43AF5-1EC1-C428-4F89-B304C8B57DBC}"/>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BE1AD91-CB1D-5C42-8686-656629945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0BE1AD91-CB1D-5C42-8686-656629945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D170DCD5-EBC1-4605-22F9-F299F39E881A}"/>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1875B79B-3118-346D-3116-E79465092716}"/>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8BEE118C-B4FA-0CAE-0950-CC440B78550C}"/>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49E78BDF-6362-076F-8F7E-ADDC6D7D4C10}"/>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C9DFAC5E-8505-B884-ED3D-94E28EB9E571}"/>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39DDCEA9-F824-0784-78E5-E81E1575D006}"/>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B6F5713C-F094-18F1-5AD2-AE2A13581608}"/>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B179A9C1-D4CE-4D44-541E-E628449FCD89}"/>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1AABB206-CAB5-06F3-9CF7-A7A6EC7CF697}"/>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7BACFC96-8A8F-80F5-843B-CB62642770F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1D3B3FFF-8BDA-4ACC-E8C2-380ABA9276DA}"/>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C1C6E0F3-57B7-98F8-AB37-42FD40286000}"/>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891DE342-0856-9CEB-9115-DC27DF4A9B12}"/>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5E18257-5A71-EAC5-62B8-D79A9CAF3453}"/>
              </a:ext>
            </a:extLst>
          </p:cNvPr>
          <p:cNvSpPr>
            <a:spLocks noGrp="1"/>
          </p:cNvSpPr>
          <p:nvPr>
            <p:ph type="title"/>
          </p:nvPr>
        </p:nvSpPr>
        <p:spPr>
          <a:xfrm>
            <a:off x="1093613" y="2184696"/>
            <a:ext cx="4303725" cy="741568"/>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Data Events</a:t>
            </a:r>
          </a:p>
        </p:txBody>
      </p:sp>
      <p:sp>
        <p:nvSpPr>
          <p:cNvPr id="13" name="Rectangle 12">
            <a:extLst>
              <a:ext uri="{FF2B5EF4-FFF2-40B4-BE49-F238E27FC236}">
                <a16:creationId xmlns:a16="http://schemas.microsoft.com/office/drawing/2014/main" id="{FCB3AC62-BB86-54EA-CAF9-FB4EB8D24996}"/>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B6EB440-3C78-BB28-79D1-C8AD73897327}"/>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00B5E439-D3B7-9FCA-AD0D-36B927AE05B2}"/>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7</a:t>
            </a:fld>
            <a:endParaRPr lang="en-US"/>
          </a:p>
        </p:txBody>
      </p:sp>
      <p:pic>
        <p:nvPicPr>
          <p:cNvPr id="53" name="Picture 52" descr="Background pattern&#10;&#10;Description automatically generated">
            <a:extLst>
              <a:ext uri="{FF2B5EF4-FFF2-40B4-BE49-F238E27FC236}">
                <a16:creationId xmlns:a16="http://schemas.microsoft.com/office/drawing/2014/main" id="{7D35755C-AFC9-159C-C232-EF03AE0BD595}"/>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5382E9BF-A825-7551-0A3B-C22BEF488CB7}"/>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64E95615-575E-9D0A-8226-5E53D70373F6}"/>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EBB326F7-41C4-A8A0-BE7D-23517CD17C90}"/>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7F68C0CF-8B2A-397F-7445-F4FB51F1F8D2}"/>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D3D29470-4932-A17E-E1EB-638BF11736F9}"/>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5C1DE046-599A-781B-005C-8F0302A78E73}"/>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BFC7AF04-294D-5D1E-6CC6-46C7C8752E68}"/>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BF1D6FA6-B6FA-F104-9D52-0242C0A1B8B5}"/>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CDA50887-3E64-B482-FD40-98149E45DA6B}"/>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B75B0E4B-4A0A-E107-23EF-F93C446A2A77}"/>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799CBD3E-BE2C-33DC-C5FB-9CC8AD9742C3}"/>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62137E23-BBB7-C889-CC58-19E0C27662C2}"/>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FED1987-66BC-1328-8786-364943673976}"/>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4784C8F2-F2CE-AB83-0397-7E883C7DE406}"/>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Data events are events that are based on changes to data in finance and operations apps.</a:t>
            </a: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Create, update, and delete (CUD) events can be enabled for each entity</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Picture 4" descr="A blue and blue lego&#10;&#10;Description automatically generated">
            <a:extLst>
              <a:ext uri="{FF2B5EF4-FFF2-40B4-BE49-F238E27FC236}">
                <a16:creationId xmlns:a16="http://schemas.microsoft.com/office/drawing/2014/main" id="{748BD77B-8BDA-410C-AF6D-FA4032B9872A}"/>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7129829" y="1051088"/>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FF7C8A21-F931-5712-CF13-C78E6CE9B2F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4" name="Picture 2">
            <a:extLst>
              <a:ext uri="{FF2B5EF4-FFF2-40B4-BE49-F238E27FC236}">
                <a16:creationId xmlns:a16="http://schemas.microsoft.com/office/drawing/2014/main" id="{473F42D2-B0E5-1E70-A24B-D4A79C31D49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623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8733A-386D-4660-F815-B09208C02F03}"/>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DF0CC26-B4F9-CDD0-65A2-992624A971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DF0CC26-B4F9-CDD0-65A2-992624A97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15571BA5-CCFE-F710-BFF2-D7F039A4B49D}"/>
              </a:ext>
            </a:extLst>
          </p:cNvPr>
          <p:cNvSpPr/>
          <p:nvPr/>
        </p:nvSpPr>
        <p:spPr>
          <a:xfrm>
            <a:off x="7913" y="4500462"/>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854F430-92CE-4D36-3ABE-E6C5BB985131}"/>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8E5F57E4-ECFC-F39A-4506-90D8FD0C8950}"/>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78451BB8-0083-40DA-2B3D-495F4749415F}"/>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47168C9-04C1-BB0B-11BB-33A2B2E2D843}"/>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17716A6A-0D6F-C4AD-92D6-EF78E41893BB}"/>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BFDF6841-DEE1-D66E-8FC8-A3AC94E9839C}"/>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06E38BF1-A194-015F-084C-3CEFFD63BA82}"/>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D58786DF-3E59-D3C8-CCF9-3D8059007A03}"/>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6F6EE45-907D-8A2A-D277-E02DCC902F68}"/>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304C7933-5770-0DF1-768F-A17D9D0A006B}"/>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F77E5132-F84F-1F49-F64C-701FEC40FBFB}"/>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8E8B5F36-EE94-2FD4-1BD7-1B1AF1290601}"/>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B68530AB-7C66-BACE-4EEA-930DEAEA1D9E}"/>
              </a:ext>
            </a:extLst>
          </p:cNvPr>
          <p:cNvSpPr>
            <a:spLocks noGrp="1"/>
          </p:cNvSpPr>
          <p:nvPr>
            <p:ph type="title"/>
          </p:nvPr>
        </p:nvSpPr>
        <p:spPr>
          <a:xfrm>
            <a:off x="2355250" y="1170000"/>
            <a:ext cx="4303725" cy="741568"/>
          </a:xfrm>
        </p:spPr>
        <p:txBody>
          <a:bodyPr lIns="0" rIns="0"/>
          <a:lstStyle/>
          <a:p>
            <a:r>
              <a:rPr lang="en-US" b="1">
                <a:solidFill>
                  <a:schemeClr val="tx1">
                    <a:lumMod val="75000"/>
                    <a:lumOff val="25000"/>
                  </a:schemeClr>
                </a:solidFill>
                <a:latin typeface="Segoe UI" panose="020B0502040204020203" pitchFamily="34" charset="0"/>
                <a:cs typeface="Segoe UI" panose="020B0502040204020203" pitchFamily="34" charset="0"/>
              </a:rPr>
              <a:t>Business Events</a:t>
            </a:r>
          </a:p>
        </p:txBody>
      </p:sp>
      <p:sp>
        <p:nvSpPr>
          <p:cNvPr id="13" name="Rectangle 12">
            <a:extLst>
              <a:ext uri="{FF2B5EF4-FFF2-40B4-BE49-F238E27FC236}">
                <a16:creationId xmlns:a16="http://schemas.microsoft.com/office/drawing/2014/main" id="{1739B587-D701-DFAF-3496-7C475A49FBB4}"/>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5BFAE2D3-5942-0C30-8195-73AE6B2FC9F3}"/>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8FC0A662-F4B3-6973-D75C-2DF208DD0BD3}"/>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8</a:t>
            </a:fld>
            <a:endParaRPr lang="en-US"/>
          </a:p>
        </p:txBody>
      </p:sp>
      <p:pic>
        <p:nvPicPr>
          <p:cNvPr id="53" name="Picture 52" descr="Background pattern&#10;&#10;Description automatically generated">
            <a:extLst>
              <a:ext uri="{FF2B5EF4-FFF2-40B4-BE49-F238E27FC236}">
                <a16:creationId xmlns:a16="http://schemas.microsoft.com/office/drawing/2014/main" id="{A66B8F3A-44F4-4919-C0B5-4FE0FC967A0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2E49C3E6-ABE5-B00E-274B-6F196A1027EB}"/>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58C7856C-F520-9CCE-BD12-7130A9D1E872}"/>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AE4FA97A-AC28-5087-EA36-F8476760CB50}"/>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C2F98AB9-0B04-F41F-B621-AA2857A0B177}"/>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DC8EC390-BDEA-9A37-F1B4-E2F3DC4DF1B2}"/>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B1C5C284-9A8A-26E9-DCE4-8B740DD2573B}"/>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701B7FC5-8702-FB5F-472E-F38691ED3BB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8F473EA6-346C-7B01-DBC7-D64BB694C4B1}"/>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8E58FFEB-EB0E-DEDA-67E6-EE8AAC653AD5}"/>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BBC80B4C-A53B-C8D6-EE88-2DB238C83EC9}"/>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7534511E-691E-BED2-6A22-89838C421019}"/>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9C2C0178-7028-EEC7-B35D-27FE5D2718C7}"/>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E2A04BEE-DF7F-2D4B-E3F4-9A847AB0B7E3}"/>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57009DF6-259C-EAAC-EFD7-7A0FC4CE6989}"/>
              </a:ext>
            </a:extLst>
          </p:cNvPr>
          <p:cNvSpPr txBox="1">
            <a:spLocks/>
          </p:cNvSpPr>
          <p:nvPr/>
        </p:nvSpPr>
        <p:spPr>
          <a:xfrm>
            <a:off x="1061945" y="2291295"/>
            <a:ext cx="4303725" cy="326016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Business events occur when a business process is run.</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a:p>
            <a:pPr>
              <a:lnSpc>
                <a:spcPct val="100000"/>
              </a:lnSpc>
              <a:spcAft>
                <a:spcPts val="1200"/>
              </a:spcAft>
            </a:pPr>
            <a:r>
              <a:rPr lang="en-US" sz="2400" i="1">
                <a:solidFill>
                  <a:schemeClr val="tx1">
                    <a:lumMod val="75000"/>
                    <a:lumOff val="25000"/>
                  </a:schemeClr>
                </a:solidFill>
                <a:latin typeface="Segoe UI" panose="020B0502040204020203" pitchFamily="34" charset="0"/>
                <a:cs typeface="Segoe UI" panose="020B0502040204020203" pitchFamily="34" charset="0"/>
              </a:rPr>
              <a:t>Systems can perform business actions in response to the business events.</a:t>
            </a:r>
          </a:p>
          <a:p>
            <a:pPr>
              <a:lnSpc>
                <a:spcPct val="100000"/>
              </a:lnSpc>
              <a:spcAft>
                <a:spcPts val="1200"/>
              </a:spcAft>
            </a:pPr>
            <a:endParaRPr lang="en-US" sz="2400" i="1">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5" name="Picture 4" descr="A blue and blue lego&#10;&#10;Description automatically generated">
            <a:extLst>
              <a:ext uri="{FF2B5EF4-FFF2-40B4-BE49-F238E27FC236}">
                <a16:creationId xmlns:a16="http://schemas.microsoft.com/office/drawing/2014/main" id="{A02958A9-67A1-EDBE-A703-4557156AFD37}"/>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7129829" y="1051088"/>
            <a:ext cx="5092786" cy="4602656"/>
          </a:xfrm>
          <a:prstGeom prst="rect">
            <a:avLst/>
          </a:prstGeom>
        </p:spPr>
      </p:pic>
      <p:pic>
        <p:nvPicPr>
          <p:cNvPr id="6" name="Picture 5" descr="A logo with a rocket in the middle&#10;&#10;Description automatically generated">
            <a:extLst>
              <a:ext uri="{FF2B5EF4-FFF2-40B4-BE49-F238E27FC236}">
                <a16:creationId xmlns:a16="http://schemas.microsoft.com/office/drawing/2014/main" id="{B4BE09EC-43FE-D3F0-7275-21EA90E0E6A0}"/>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48754" y="5712409"/>
            <a:ext cx="2037046" cy="916017"/>
          </a:xfrm>
          <a:prstGeom prst="rect">
            <a:avLst/>
          </a:prstGeom>
        </p:spPr>
      </p:pic>
      <p:pic>
        <p:nvPicPr>
          <p:cNvPr id="4" name="Picture 2">
            <a:extLst>
              <a:ext uri="{FF2B5EF4-FFF2-40B4-BE49-F238E27FC236}">
                <a16:creationId xmlns:a16="http://schemas.microsoft.com/office/drawing/2014/main" id="{4713B4E1-A23C-D338-8C50-53193BF2135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055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5DE42-5969-3431-A80E-6D57E9BD0249}"/>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2668B99-EDB8-912A-86AA-BAF8992678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3" name="Object 12" hidden="1">
                        <a:extLst>
                          <a:ext uri="{FF2B5EF4-FFF2-40B4-BE49-F238E27FC236}">
                            <a16:creationId xmlns:a16="http://schemas.microsoft.com/office/drawing/2014/main" id="{F2668B99-EDB8-912A-86AA-BAF8992678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B47224E-4FC6-F848-4919-D4D3DCCB12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6" name="Rectángulo 6175">
            <a:extLst>
              <a:ext uri="{FF2B5EF4-FFF2-40B4-BE49-F238E27FC236}">
                <a16:creationId xmlns:a16="http://schemas.microsoft.com/office/drawing/2014/main" id="{7C4AA74C-FFFF-EE5D-6E7D-E36AD9E677FC}"/>
              </a:ext>
            </a:extLst>
          </p:cNvPr>
          <p:cNvSpPr/>
          <p:nvPr/>
        </p:nvSpPr>
        <p:spPr>
          <a:xfrm>
            <a:off x="0" y="-36682"/>
            <a:ext cx="12214702" cy="268384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任意多边形: 形状 16">
            <a:extLst>
              <a:ext uri="{FF2B5EF4-FFF2-40B4-BE49-F238E27FC236}">
                <a16:creationId xmlns:a16="http://schemas.microsoft.com/office/drawing/2014/main" id="{6E697F8A-5E33-1F25-B38C-E996CF5FC299}"/>
              </a:ext>
            </a:extLst>
          </p:cNvPr>
          <p:cNvSpPr/>
          <p:nvPr/>
        </p:nvSpPr>
        <p:spPr>
          <a:xfrm rot="10800000">
            <a:off x="27305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任意多边形: 形状 16">
            <a:extLst>
              <a:ext uri="{FF2B5EF4-FFF2-40B4-BE49-F238E27FC236}">
                <a16:creationId xmlns:a16="http://schemas.microsoft.com/office/drawing/2014/main" id="{E1083E5F-2636-8603-977C-004C9B431551}"/>
              </a:ext>
            </a:extLst>
          </p:cNvPr>
          <p:cNvSpPr/>
          <p:nvPr/>
        </p:nvSpPr>
        <p:spPr>
          <a:xfrm rot="10800000">
            <a:off x="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任意多边形: 形状 16">
            <a:extLst>
              <a:ext uri="{FF2B5EF4-FFF2-40B4-BE49-F238E27FC236}">
                <a16:creationId xmlns:a16="http://schemas.microsoft.com/office/drawing/2014/main" id="{BF4A651E-9574-80D9-96FA-03FDF97EA1C0}"/>
              </a:ext>
            </a:extLst>
          </p:cNvPr>
          <p:cNvSpPr/>
          <p:nvPr/>
        </p:nvSpPr>
        <p:spPr>
          <a:xfrm rot="10800000">
            <a:off x="27466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形状 16">
            <a:extLst>
              <a:ext uri="{FF2B5EF4-FFF2-40B4-BE49-F238E27FC236}">
                <a16:creationId xmlns:a16="http://schemas.microsoft.com/office/drawing/2014/main" id="{CBEC59CC-2B48-6AC3-14A4-DB695D4809B0}"/>
              </a:ext>
            </a:extLst>
          </p:cNvPr>
          <p:cNvSpPr/>
          <p:nvPr/>
        </p:nvSpPr>
        <p:spPr>
          <a:xfrm rot="10800000">
            <a:off x="161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任意多边形: 形状 16">
            <a:extLst>
              <a:ext uri="{FF2B5EF4-FFF2-40B4-BE49-F238E27FC236}">
                <a16:creationId xmlns:a16="http://schemas.microsoft.com/office/drawing/2014/main" id="{F42C6193-0515-D083-003F-CCAE4AF249D6}"/>
              </a:ext>
            </a:extLst>
          </p:cNvPr>
          <p:cNvSpPr/>
          <p:nvPr/>
        </p:nvSpPr>
        <p:spPr>
          <a:xfrm rot="10800000">
            <a:off x="54771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16">
            <a:extLst>
              <a:ext uri="{FF2B5EF4-FFF2-40B4-BE49-F238E27FC236}">
                <a16:creationId xmlns:a16="http://schemas.microsoft.com/office/drawing/2014/main" id="{FB66F2B4-3BC2-1D3B-0890-18EAD614296B}"/>
              </a:ext>
            </a:extLst>
          </p:cNvPr>
          <p:cNvSpPr/>
          <p:nvPr/>
        </p:nvSpPr>
        <p:spPr>
          <a:xfrm rot="10800000">
            <a:off x="82203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Freeform: Shape 32">
            <a:extLst>
              <a:ext uri="{FF2B5EF4-FFF2-40B4-BE49-F238E27FC236}">
                <a16:creationId xmlns:a16="http://schemas.microsoft.com/office/drawing/2014/main" id="{A47AC33A-E92B-1A60-5DB2-782196553450}"/>
              </a:ext>
            </a:extLst>
          </p:cNvPr>
          <p:cNvSpPr/>
          <p:nvPr/>
        </p:nvSpPr>
        <p:spPr>
          <a:xfrm rot="10800000">
            <a:off x="10963577" y="435430"/>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任意多边形: 形状 16">
            <a:extLst>
              <a:ext uri="{FF2B5EF4-FFF2-40B4-BE49-F238E27FC236}">
                <a16:creationId xmlns:a16="http://schemas.microsoft.com/office/drawing/2014/main" id="{FBBB23A2-BFFC-1405-9C6D-9169F8921895}"/>
              </a:ext>
            </a:extLst>
          </p:cNvPr>
          <p:cNvSpPr/>
          <p:nvPr/>
        </p:nvSpPr>
        <p:spPr>
          <a:xfrm rot="10800000">
            <a:off x="54610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16">
            <a:extLst>
              <a:ext uri="{FF2B5EF4-FFF2-40B4-BE49-F238E27FC236}">
                <a16:creationId xmlns:a16="http://schemas.microsoft.com/office/drawing/2014/main" id="{BB16C90E-CD02-6CDC-E4FB-92EADCEC9E7D}"/>
              </a:ext>
            </a:extLst>
          </p:cNvPr>
          <p:cNvSpPr/>
          <p:nvPr/>
        </p:nvSpPr>
        <p:spPr>
          <a:xfrm rot="10800000">
            <a:off x="82042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Freeform: Shape 35">
            <a:extLst>
              <a:ext uri="{FF2B5EF4-FFF2-40B4-BE49-F238E27FC236}">
                <a16:creationId xmlns:a16="http://schemas.microsoft.com/office/drawing/2014/main" id="{55D2A881-A461-F216-3864-82FDABAD2B27}"/>
              </a:ext>
            </a:extLst>
          </p:cNvPr>
          <p:cNvSpPr/>
          <p:nvPr/>
        </p:nvSpPr>
        <p:spPr>
          <a:xfrm rot="10800000">
            <a:off x="10947400" y="262039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 name="Title 1">
            <a:extLst>
              <a:ext uri="{FF2B5EF4-FFF2-40B4-BE49-F238E27FC236}">
                <a16:creationId xmlns:a16="http://schemas.microsoft.com/office/drawing/2014/main" id="{D7F7F236-9548-7B82-EDAA-F36D8CC72BEC}"/>
              </a:ext>
            </a:extLst>
          </p:cNvPr>
          <p:cNvSpPr>
            <a:spLocks noGrp="1"/>
          </p:cNvSpPr>
          <p:nvPr>
            <p:ph type="title"/>
          </p:nvPr>
        </p:nvSpPr>
        <p:spPr>
          <a:xfrm>
            <a:off x="288444" y="475498"/>
            <a:ext cx="11063515" cy="955675"/>
          </a:xfrm>
        </p:spPr>
        <p:txBody>
          <a:bodyPr/>
          <a:lstStyle/>
          <a:p>
            <a:r>
              <a:rPr lang="en-US" sz="4400" b="1">
                <a:solidFill>
                  <a:schemeClr val="bg1"/>
                </a:solidFill>
                <a:latin typeface="Segoe UI" panose="020B0502040204020203" pitchFamily="34" charset="0"/>
                <a:cs typeface="Segoe UI" panose="020B0502040204020203" pitchFamily="34" charset="0"/>
              </a:rPr>
              <a:t>Data Event (DE) vs Business Event (BE)</a:t>
            </a:r>
            <a:endParaRPr lang="en-US">
              <a:solidFill>
                <a:schemeClr val="bg1"/>
              </a:solidFill>
            </a:endParaRPr>
          </a:p>
        </p:txBody>
      </p:sp>
      <p:sp>
        <p:nvSpPr>
          <p:cNvPr id="4" name="Slide Number Placeholder 3">
            <a:extLst>
              <a:ext uri="{FF2B5EF4-FFF2-40B4-BE49-F238E27FC236}">
                <a16:creationId xmlns:a16="http://schemas.microsoft.com/office/drawing/2014/main" id="{A8C68075-1968-2202-316E-C5359C52CB9C}"/>
              </a:ext>
            </a:extLst>
          </p:cNvPr>
          <p:cNvSpPr>
            <a:spLocks noGrp="1"/>
          </p:cNvSpPr>
          <p:nvPr>
            <p:ph type="sldNum" sz="quarter" idx="12"/>
          </p:nvPr>
        </p:nvSpPr>
        <p:spPr/>
        <p:txBody>
          <a:bodyPr/>
          <a:lstStyle/>
          <a:p>
            <a:fld id="{8D05A9CD-9176-4D89-A414-3BEEE81BBC77}" type="slidenum">
              <a:rPr lang="en-US" smtClean="0"/>
              <a:pPr/>
              <a:t>9</a:t>
            </a:fld>
            <a:endParaRPr lang="en-US"/>
          </a:p>
        </p:txBody>
      </p:sp>
      <p:sp>
        <p:nvSpPr>
          <p:cNvPr id="11" name="Freeform 46">
            <a:extLst>
              <a:ext uri="{FF2B5EF4-FFF2-40B4-BE49-F238E27FC236}">
                <a16:creationId xmlns:a16="http://schemas.microsoft.com/office/drawing/2014/main" id="{DACF442D-2E4C-6781-AA00-7792C9E84A93}"/>
              </a:ext>
            </a:extLst>
          </p:cNvPr>
          <p:cNvSpPr/>
          <p:nvPr/>
        </p:nvSpPr>
        <p:spPr>
          <a:xfrm>
            <a:off x="5279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542592EE-29F1-7CB6-003D-C83CFC91E832}"/>
              </a:ext>
            </a:extLst>
          </p:cNvPr>
          <p:cNvSpPr/>
          <p:nvPr/>
        </p:nvSpPr>
        <p:spPr>
          <a:xfrm>
            <a:off x="3368525"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7D21A89E-8268-9826-3E50-06AD6E259EAB}"/>
              </a:ext>
            </a:extLst>
          </p:cNvPr>
          <p:cNvSpPr/>
          <p:nvPr/>
        </p:nvSpPr>
        <p:spPr>
          <a:xfrm>
            <a:off x="6209092" y="1694997"/>
            <a:ext cx="2647042" cy="3978275"/>
          </a:xfrm>
          <a:prstGeom prst="roundRect">
            <a:avLst>
              <a:gd name="adj" fmla="val 4406"/>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46">
            <a:extLst>
              <a:ext uri="{FF2B5EF4-FFF2-40B4-BE49-F238E27FC236}">
                <a16:creationId xmlns:a16="http://schemas.microsoft.com/office/drawing/2014/main" id="{0B22B903-12B2-8044-DB02-00AD30E55B05}"/>
              </a:ext>
            </a:extLst>
          </p:cNvPr>
          <p:cNvSpPr/>
          <p:nvPr/>
        </p:nvSpPr>
        <p:spPr>
          <a:xfrm>
            <a:off x="90496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Title 1">
            <a:extLst>
              <a:ext uri="{FF2B5EF4-FFF2-40B4-BE49-F238E27FC236}">
                <a16:creationId xmlns:a16="http://schemas.microsoft.com/office/drawing/2014/main" id="{8D660FD6-5231-863A-CCFC-E8EADC2ED2A3}"/>
              </a:ext>
            </a:extLst>
          </p:cNvPr>
          <p:cNvSpPr txBox="1">
            <a:spLocks/>
          </p:cNvSpPr>
          <p:nvPr/>
        </p:nvSpPr>
        <p:spPr>
          <a:xfrm>
            <a:off x="71528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2" name="Title 1">
            <a:extLst>
              <a:ext uri="{FF2B5EF4-FFF2-40B4-BE49-F238E27FC236}">
                <a16:creationId xmlns:a16="http://schemas.microsoft.com/office/drawing/2014/main" id="{31F3003A-B317-F8CA-B587-27844778CA85}"/>
              </a:ext>
            </a:extLst>
          </p:cNvPr>
          <p:cNvSpPr txBox="1">
            <a:spLocks/>
          </p:cNvSpPr>
          <p:nvPr/>
        </p:nvSpPr>
        <p:spPr>
          <a:xfrm>
            <a:off x="3561170"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3" name="Title 1">
            <a:extLst>
              <a:ext uri="{FF2B5EF4-FFF2-40B4-BE49-F238E27FC236}">
                <a16:creationId xmlns:a16="http://schemas.microsoft.com/office/drawing/2014/main" id="{0B015954-0962-9A82-4C35-CB35A37E45E9}"/>
              </a:ext>
            </a:extLst>
          </p:cNvPr>
          <p:cNvSpPr txBox="1">
            <a:spLocks/>
          </p:cNvSpPr>
          <p:nvPr/>
        </p:nvSpPr>
        <p:spPr>
          <a:xfrm>
            <a:off x="6401737"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54" name="Title 1">
            <a:extLst>
              <a:ext uri="{FF2B5EF4-FFF2-40B4-BE49-F238E27FC236}">
                <a16:creationId xmlns:a16="http://schemas.microsoft.com/office/drawing/2014/main" id="{5B261ED6-A127-827C-FB46-1D30560E57DB}"/>
              </a:ext>
            </a:extLst>
          </p:cNvPr>
          <p:cNvSpPr txBox="1">
            <a:spLocks/>
          </p:cNvSpPr>
          <p:nvPr/>
        </p:nvSpPr>
        <p:spPr>
          <a:xfrm>
            <a:off x="924230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a:solidFill>
                  <a:schemeClr val="tx1">
                    <a:lumMod val="75000"/>
                    <a:lumOff val="25000"/>
                  </a:schemeClr>
                </a:solidFill>
                <a:latin typeface="Segoe UI" panose="020B0502040204020203" pitchFamily="34" charset="0"/>
                <a:cs typeface="Segoe UI" panose="020B0502040204020203" pitchFamily="34" charset="0"/>
              </a:rPr>
              <a:t>Result? Triggers an integration call.</a:t>
            </a:r>
          </a:p>
        </p:txBody>
      </p:sp>
      <p:sp>
        <p:nvSpPr>
          <p:cNvPr id="37" name="Rectángulo 6175">
            <a:extLst>
              <a:ext uri="{FF2B5EF4-FFF2-40B4-BE49-F238E27FC236}">
                <a16:creationId xmlns:a16="http://schemas.microsoft.com/office/drawing/2014/main" id="{DC81486D-F840-9336-AAF3-075C2D8CDBD5}"/>
              </a:ext>
            </a:extLst>
          </p:cNvPr>
          <p:cNvSpPr/>
          <p:nvPr/>
        </p:nvSpPr>
        <p:spPr>
          <a:xfrm>
            <a:off x="16177" y="-36682"/>
            <a:ext cx="12214702" cy="507989"/>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itle 1">
            <a:extLst>
              <a:ext uri="{FF2B5EF4-FFF2-40B4-BE49-F238E27FC236}">
                <a16:creationId xmlns:a16="http://schemas.microsoft.com/office/drawing/2014/main" id="{A169DF3C-8038-2EB1-B1F6-BDE97E6990EA}"/>
              </a:ext>
            </a:extLst>
          </p:cNvPr>
          <p:cNvSpPr txBox="1">
            <a:spLocks/>
          </p:cNvSpPr>
          <p:nvPr/>
        </p:nvSpPr>
        <p:spPr>
          <a:xfrm>
            <a:off x="2140442" y="1383923"/>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Data Event</a:t>
            </a:r>
          </a:p>
        </p:txBody>
      </p:sp>
      <p:sp>
        <p:nvSpPr>
          <p:cNvPr id="45" name="Title 1">
            <a:extLst>
              <a:ext uri="{FF2B5EF4-FFF2-40B4-BE49-F238E27FC236}">
                <a16:creationId xmlns:a16="http://schemas.microsoft.com/office/drawing/2014/main" id="{D6952E35-1136-8367-641E-908B90015ECE}"/>
              </a:ext>
            </a:extLst>
          </p:cNvPr>
          <p:cNvSpPr txBox="1">
            <a:spLocks/>
          </p:cNvSpPr>
          <p:nvPr/>
        </p:nvSpPr>
        <p:spPr>
          <a:xfrm>
            <a:off x="7822017" y="1380548"/>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a:solidFill>
                  <a:schemeClr val="tx1">
                    <a:lumMod val="75000"/>
                    <a:lumOff val="25000"/>
                  </a:schemeClr>
                </a:solidFill>
                <a:latin typeface="Segoe UI" panose="020B0502040204020203" pitchFamily="34" charset="0"/>
                <a:cs typeface="Segoe UI" panose="020B0502040204020203" pitchFamily="34" charset="0"/>
              </a:rPr>
              <a:t>Business Event</a:t>
            </a:r>
          </a:p>
        </p:txBody>
      </p:sp>
      <p:sp>
        <p:nvSpPr>
          <p:cNvPr id="47" name="Title 1">
            <a:extLst>
              <a:ext uri="{FF2B5EF4-FFF2-40B4-BE49-F238E27FC236}">
                <a16:creationId xmlns:a16="http://schemas.microsoft.com/office/drawing/2014/main" id="{4CB850FC-4399-1002-9BA5-B1F7B49111A4}"/>
              </a:ext>
            </a:extLst>
          </p:cNvPr>
          <p:cNvSpPr txBox="1">
            <a:spLocks/>
          </p:cNvSpPr>
          <p:nvPr/>
        </p:nvSpPr>
        <p:spPr>
          <a:xfrm>
            <a:off x="71528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reates a record in </a:t>
            </a:r>
            <a:r>
              <a:rPr lang="en-US" sz="1400" err="1">
                <a:solidFill>
                  <a:schemeClr val="tx1">
                    <a:lumMod val="75000"/>
                    <a:lumOff val="25000"/>
                  </a:schemeClr>
                </a:solidFill>
                <a:latin typeface="Segoe UI" panose="020B0502040204020203" pitchFamily="34" charset="0"/>
                <a:cs typeface="Segoe UI" panose="020B0502040204020203" pitchFamily="34" charset="0"/>
              </a:rPr>
              <a:t>VendPurchOrderJour</a:t>
            </a:r>
            <a:endParaRPr lang="en-US" sz="14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8" name="Title 1">
            <a:extLst>
              <a:ext uri="{FF2B5EF4-FFF2-40B4-BE49-F238E27FC236}">
                <a16:creationId xmlns:a16="http://schemas.microsoft.com/office/drawing/2014/main" id="{F595DF81-5E34-4B7E-13A5-2BBCC58A2E6A}"/>
              </a:ext>
            </a:extLst>
          </p:cNvPr>
          <p:cNvSpPr txBox="1">
            <a:spLocks/>
          </p:cNvSpPr>
          <p:nvPr/>
        </p:nvSpPr>
        <p:spPr>
          <a:xfrm>
            <a:off x="3561170"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Create a </a:t>
            </a:r>
            <a:r>
              <a:rPr lang="en-US" sz="1400" err="1">
                <a:solidFill>
                  <a:schemeClr val="tx1">
                    <a:lumMod val="75000"/>
                    <a:lumOff val="25000"/>
                  </a:schemeClr>
                </a:solidFill>
                <a:latin typeface="Segoe UI" panose="020B0502040204020203" pitchFamily="34" charset="0"/>
                <a:cs typeface="Segoe UI" panose="020B0502040204020203" pitchFamily="34" charset="0"/>
              </a:rPr>
              <a:t>VendPackingSlipJour</a:t>
            </a:r>
            <a:r>
              <a:rPr lang="en-US" sz="1400">
                <a:solidFill>
                  <a:schemeClr val="tx1">
                    <a:lumMod val="75000"/>
                    <a:lumOff val="25000"/>
                  </a:schemeClr>
                </a:solidFill>
                <a:latin typeface="Segoe UI" panose="020B0502040204020203" pitchFamily="34" charset="0"/>
                <a:cs typeface="Segoe UI" panose="020B0502040204020203" pitchFamily="34" charset="0"/>
              </a:rPr>
              <a:t> record</a:t>
            </a:r>
          </a:p>
        </p:txBody>
      </p:sp>
      <p:sp>
        <p:nvSpPr>
          <p:cNvPr id="49" name="Title 1">
            <a:extLst>
              <a:ext uri="{FF2B5EF4-FFF2-40B4-BE49-F238E27FC236}">
                <a16:creationId xmlns:a16="http://schemas.microsoft.com/office/drawing/2014/main" id="{D63C9D2C-B096-44D1-1043-C17901AA534A}"/>
              </a:ext>
            </a:extLst>
          </p:cNvPr>
          <p:cNvSpPr txBox="1">
            <a:spLocks/>
          </p:cNvSpPr>
          <p:nvPr/>
        </p:nvSpPr>
        <p:spPr>
          <a:xfrm>
            <a:off x="6401737"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Post a confirmation for a Purchase Order.</a:t>
            </a:r>
          </a:p>
        </p:txBody>
      </p:sp>
      <p:sp>
        <p:nvSpPr>
          <p:cNvPr id="50" name="Title 1">
            <a:extLst>
              <a:ext uri="{FF2B5EF4-FFF2-40B4-BE49-F238E27FC236}">
                <a16:creationId xmlns:a16="http://schemas.microsoft.com/office/drawing/2014/main" id="{AA9CF481-DB0D-07DD-637A-9DA0603E49E6}"/>
              </a:ext>
            </a:extLst>
          </p:cNvPr>
          <p:cNvSpPr txBox="1">
            <a:spLocks/>
          </p:cNvSpPr>
          <p:nvPr/>
        </p:nvSpPr>
        <p:spPr>
          <a:xfrm>
            <a:off x="924230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a:solidFill>
                  <a:schemeClr val="tx1">
                    <a:lumMod val="75000"/>
                    <a:lumOff val="25000"/>
                  </a:schemeClr>
                </a:solidFill>
                <a:latin typeface="Segoe UI" panose="020B0502040204020203" pitchFamily="34" charset="0"/>
                <a:cs typeface="Segoe UI" panose="020B0502040204020203" pitchFamily="34" charset="0"/>
              </a:rPr>
              <a:t>Post a Product Receipt Journal.</a:t>
            </a:r>
          </a:p>
        </p:txBody>
      </p:sp>
      <p:cxnSp>
        <p:nvCxnSpPr>
          <p:cNvPr id="56" name="Straight Connector 55">
            <a:extLst>
              <a:ext uri="{FF2B5EF4-FFF2-40B4-BE49-F238E27FC236}">
                <a16:creationId xmlns:a16="http://schemas.microsoft.com/office/drawing/2014/main" id="{DBA5AB1F-D565-6E3A-742E-616ED7E88FCE}"/>
              </a:ext>
            </a:extLst>
          </p:cNvPr>
          <p:cNvCxnSpPr>
            <a:cxnSpLocks/>
          </p:cNvCxnSpPr>
          <p:nvPr/>
        </p:nvCxnSpPr>
        <p:spPr>
          <a:xfrm>
            <a:off x="7233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239F5BA-0F01-A9AC-216E-6F4A32E37836}"/>
              </a:ext>
            </a:extLst>
          </p:cNvPr>
          <p:cNvCxnSpPr>
            <a:cxnSpLocks/>
          </p:cNvCxnSpPr>
          <p:nvPr/>
        </p:nvCxnSpPr>
        <p:spPr>
          <a:xfrm>
            <a:off x="3563891"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CE2E7CC-E9DF-2770-DBAF-D9D44B91E68E}"/>
              </a:ext>
            </a:extLst>
          </p:cNvPr>
          <p:cNvCxnSpPr>
            <a:cxnSpLocks/>
          </p:cNvCxnSpPr>
          <p:nvPr/>
        </p:nvCxnSpPr>
        <p:spPr>
          <a:xfrm>
            <a:off x="6404458"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5AE63D7-14A7-C4E2-1997-E1414A51E46A}"/>
              </a:ext>
            </a:extLst>
          </p:cNvPr>
          <p:cNvCxnSpPr>
            <a:cxnSpLocks/>
          </p:cNvCxnSpPr>
          <p:nvPr/>
        </p:nvCxnSpPr>
        <p:spPr>
          <a:xfrm>
            <a:off x="92450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35BFD920-7920-F572-06BE-98C6EA8885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3843" y="4384438"/>
            <a:ext cx="1849041" cy="221422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854D4F58-37AC-00DB-DDA0-AFBF14D20B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30616" y="4397176"/>
            <a:ext cx="1793570" cy="221422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32663B06-6DEC-6A64-E33A-501D9C52C6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0440" y="4395794"/>
            <a:ext cx="1793570" cy="220287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E638B17B-A2D8-4F2A-0792-402BFE6C3FD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8841" y="4437603"/>
            <a:ext cx="2174212" cy="22348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logo with a rocket in the middle&#10;&#10;Description automatically generated">
            <a:extLst>
              <a:ext uri="{FF2B5EF4-FFF2-40B4-BE49-F238E27FC236}">
                <a16:creationId xmlns:a16="http://schemas.microsoft.com/office/drawing/2014/main" id="{2CFCDFB9-EA39-B469-DB01-CCDF6D9247F1}"/>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9468191" y="-277110"/>
            <a:ext cx="2617415" cy="1176997"/>
          </a:xfrm>
          <a:prstGeom prst="rect">
            <a:avLst/>
          </a:prstGeom>
        </p:spPr>
      </p:pic>
      <p:pic>
        <p:nvPicPr>
          <p:cNvPr id="6" name="Picture 2">
            <a:extLst>
              <a:ext uri="{FF2B5EF4-FFF2-40B4-BE49-F238E27FC236}">
                <a16:creationId xmlns:a16="http://schemas.microsoft.com/office/drawing/2014/main" id="{E84AE35D-E1C0-B7CB-C1E7-CDAA5DCCBD4F}"/>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11713052" y="6356350"/>
            <a:ext cx="501650" cy="50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9015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MVmS22Qb6ywRIH2ydJm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pYrUCN03eCDNc_P3yFC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Gr44agDtDiKB4hWkrC5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M3puCAADTYTw7_AXZsv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pUq_0bGD5mMVlqliRQc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OjT.mStzAkxQnYwC94m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J2ffnK5.35ljxVGVE0Y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vgUDTVFP9DJhd2ENdLY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LEgy2WGaKMRMxuq9KCA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c6ff6d1-2922-47d8-b6fa-c8d34b4b7313">
      <Terms xmlns="http://schemas.microsoft.com/office/infopath/2007/PartnerControls"/>
    </lcf76f155ced4ddcb4097134ff3c332f>
    <TaxCatchAll xmlns="e97ea265-253c-4c9e-a829-f800a9daf82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B34F0751EEA7645893147F402627FF6" ma:contentTypeVersion="10" ma:contentTypeDescription="Create a new document." ma:contentTypeScope="" ma:versionID="c77e29ec9ffdf5f0caeba9e2a7366451">
  <xsd:schema xmlns:xsd="http://www.w3.org/2001/XMLSchema" xmlns:xs="http://www.w3.org/2001/XMLSchema" xmlns:p="http://schemas.microsoft.com/office/2006/metadata/properties" xmlns:ns2="7c6ff6d1-2922-47d8-b6fa-c8d34b4b7313" xmlns:ns3="e97ea265-253c-4c9e-a829-f800a9daf82c" targetNamespace="http://schemas.microsoft.com/office/2006/metadata/properties" ma:root="true" ma:fieldsID="1c7bb476b8aa590d941cf098a1aad0d6" ns2:_="" ns3:_="">
    <xsd:import namespace="7c6ff6d1-2922-47d8-b6fa-c8d34b4b7313"/>
    <xsd:import namespace="e97ea265-253c-4c9e-a829-f800a9daf8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6ff6d1-2922-47d8-b6fa-c8d34b4b73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3fc197d-f5e7-4c43-938a-9929e935775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97ea265-253c-4c9e-a829-f800a9daf82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29c998-4471-48b8-875b-89fe6ad0d552}" ma:internalName="TaxCatchAll" ma:showField="CatchAllData" ma:web="e97ea265-253c-4c9e-a829-f800a9daf8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2D7910-5D8E-498A-94C4-4E9E3CF44F5C}">
  <ds:schemaRefs>
    <ds:schemaRef ds:uri="7c6ff6d1-2922-47d8-b6fa-c8d34b4b7313"/>
    <ds:schemaRef ds:uri="e97ea265-253c-4c9e-a829-f800a9daf82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CF87E6C-C0DF-477A-8DE4-35E2A1E5B30D}">
  <ds:schemaRefs>
    <ds:schemaRef ds:uri="7c6ff6d1-2922-47d8-b6fa-c8d34b4b7313"/>
    <ds:schemaRef ds:uri="e97ea265-253c-4c9e-a829-f800a9daf8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7FA9A3B-6F32-446F-AE25-152FBD7174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728</Words>
  <Application>Microsoft Office PowerPoint</Application>
  <PresentationFormat>Widescreen</PresentationFormat>
  <Paragraphs>268</Paragraphs>
  <Slides>47</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3" baseType="lpstr">
      <vt:lpstr>Arial</vt:lpstr>
      <vt:lpstr>Calibri</vt:lpstr>
      <vt:lpstr>Calibri Light</vt:lpstr>
      <vt:lpstr>Segoe UI</vt:lpstr>
      <vt:lpstr>Office Theme</vt:lpstr>
      <vt:lpstr>think-cell Slide</vt:lpstr>
      <vt:lpstr>PowerPoint Presentation</vt:lpstr>
      <vt:lpstr>PowerPoint Presentation</vt:lpstr>
      <vt:lpstr>PowerPoint Presentation</vt:lpstr>
      <vt:lpstr>PowerPoint Presentation</vt:lpstr>
      <vt:lpstr>PowerPoint Presentation</vt:lpstr>
      <vt:lpstr>Integration Tools (The Armory)</vt:lpstr>
      <vt:lpstr>Data Events</vt:lpstr>
      <vt:lpstr>Business Events</vt:lpstr>
      <vt:lpstr>Data Event (DE) vs Business Event (BE)</vt:lpstr>
      <vt:lpstr>PowerPoint Presentation</vt:lpstr>
      <vt:lpstr>PowerPoint Presentation</vt:lpstr>
      <vt:lpstr>PowerPoint Presentation</vt:lpstr>
      <vt:lpstr>PowerPoint Presentation</vt:lpstr>
      <vt:lpstr>Virtual Entities</vt:lpstr>
      <vt:lpstr>Virtual Entities Diagram</vt:lpstr>
      <vt:lpstr>Dual Write</vt:lpstr>
      <vt:lpstr>PowerPoint Presentation</vt:lpstr>
      <vt:lpstr>PowerPoint Presentation</vt:lpstr>
      <vt:lpstr>Custom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ies for Scaling and Management</vt:lpstr>
      <vt:lpstr>How to Handle Errors</vt:lpstr>
      <vt:lpstr>Security Considerations</vt:lpstr>
      <vt:lpstr>Security Considerations</vt:lpstr>
      <vt:lpstr>Security Consideration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wer Community; Raz Dynamics</dc:creator>
  <cp:lastModifiedBy>Nathan Clouse</cp:lastModifiedBy>
  <cp:revision>2</cp:revision>
  <dcterms:created xsi:type="dcterms:W3CDTF">2020-10-26T06:25:39Z</dcterms:created>
  <dcterms:modified xsi:type="dcterms:W3CDTF">2025-03-07T01:5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34F0751EEA7645893147F402627FF6</vt:lpwstr>
  </property>
  <property fmtid="{D5CDD505-2E9C-101B-9397-08002B2CF9AE}" pid="3" name="MediaServiceImageTags">
    <vt:lpwstr/>
  </property>
</Properties>
</file>